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" ContentType="image/tiff"/>
  <Default Extension="tiff" ContentType="image/tiff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7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tags/tag18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5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6.xml" ContentType="application/vnd.openxmlformats-officedocument.theme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7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8.xml" ContentType="application/vnd.openxmlformats-officedocument.theme+xml"/>
  <Override PartName="/ppt/tags/tag19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9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ags/tag20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5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charts/chart6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7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8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1.xml" ContentType="application/vnd.openxmlformats-officedocument.drawingml.chart+xml"/>
  <Override PartName="/ppt/tags/tag54.xml" ContentType="application/vnd.openxmlformats-officedocument.presentationml.tags+xml"/>
  <Override PartName="/ppt/notesSlides/notesSlide2.xml" ContentType="application/vnd.openxmlformats-officedocument.presentationml.notesSl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58.xml" ContentType="application/vnd.openxmlformats-officedocument.presentationml.tags+xml"/>
  <Override PartName="/ppt/notesSlides/notesSlide7.xml" ContentType="application/vnd.openxmlformats-officedocument.presentationml.notesSlide+xml"/>
  <Override PartName="/ppt/tags/tag59.xml" ContentType="application/vnd.openxmlformats-officedocument.presentationml.tags+xml"/>
  <Override PartName="/ppt/notesSlides/notesSlide8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charts/chart12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13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14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69.xml" ContentType="application/vnd.openxmlformats-officedocument.presentationml.tags+xml"/>
  <Override PartName="/ppt/charts/chart15.xml" ContentType="application/vnd.openxmlformats-officedocument.drawingml.chart+xml"/>
  <Override PartName="/ppt/theme/themeOverride4.xml" ContentType="application/vnd.openxmlformats-officedocument.themeOverride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5.xml" ContentType="application/vnd.openxmlformats-officedocument.themeOverride+xml"/>
  <Override PartName="/ppt/charts/chart18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heme/themeOverride6.xml" ContentType="application/vnd.openxmlformats-officedocument.themeOverride+xml"/>
  <Override PartName="/ppt/charts/chart19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heme/themeOverride7.xml" ContentType="application/vnd.openxmlformats-officedocument.themeOverride+xml"/>
  <Override PartName="/ppt/charts/chart20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heme/themeOverride8.xml" ContentType="application/vnd.openxmlformats-officedocument.themeOverrid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9.xml" ContentType="application/vnd.openxmlformats-officedocument.presentationml.notesSlide+xml"/>
  <Override PartName="/ppt/charts/chart21.xml" ContentType="application/vnd.openxmlformats-officedocument.drawingml.chart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charts/chart2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2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2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0" r:id="rId1"/>
    <p:sldMasterId id="2147483714" r:id="rId2"/>
    <p:sldMasterId id="2147483735" r:id="rId3"/>
    <p:sldMasterId id="2147483761" r:id="rId4"/>
    <p:sldMasterId id="2147483778" r:id="rId5"/>
    <p:sldMasterId id="2147483785" r:id="rId6"/>
    <p:sldMasterId id="2147483815" r:id="rId7"/>
    <p:sldMasterId id="2147483838" r:id="rId8"/>
    <p:sldMasterId id="2147483858" r:id="rId9"/>
    <p:sldMasterId id="2147483862" r:id="rId10"/>
  </p:sldMasterIdLst>
  <p:notesMasterIdLst>
    <p:notesMasterId r:id="rId50"/>
  </p:notesMasterIdLst>
  <p:sldIdLst>
    <p:sldId id="5310" r:id="rId11"/>
    <p:sldId id="258" r:id="rId12"/>
    <p:sldId id="5262" r:id="rId13"/>
    <p:sldId id="5213" r:id="rId14"/>
    <p:sldId id="5268" r:id="rId15"/>
    <p:sldId id="293" r:id="rId16"/>
    <p:sldId id="5270" r:id="rId17"/>
    <p:sldId id="5271" r:id="rId18"/>
    <p:sldId id="5108" r:id="rId19"/>
    <p:sldId id="5109" r:id="rId20"/>
    <p:sldId id="5278" r:id="rId21"/>
    <p:sldId id="5283" r:id="rId22"/>
    <p:sldId id="5224" r:id="rId23"/>
    <p:sldId id="5277" r:id="rId24"/>
    <p:sldId id="5247" r:id="rId25"/>
    <p:sldId id="5290" r:id="rId26"/>
    <p:sldId id="5281" r:id="rId27"/>
    <p:sldId id="4922" r:id="rId28"/>
    <p:sldId id="5110" r:id="rId29"/>
    <p:sldId id="5291" r:id="rId30"/>
    <p:sldId id="5292" r:id="rId31"/>
    <p:sldId id="5295" r:id="rId32"/>
    <p:sldId id="5296" r:id="rId33"/>
    <p:sldId id="5297" r:id="rId34"/>
    <p:sldId id="5293" r:id="rId35"/>
    <p:sldId id="5298" r:id="rId36"/>
    <p:sldId id="1677" r:id="rId37"/>
    <p:sldId id="2418" r:id="rId38"/>
    <p:sldId id="5299" r:id="rId39"/>
    <p:sldId id="291" r:id="rId40"/>
    <p:sldId id="2420" r:id="rId41"/>
    <p:sldId id="5300" r:id="rId42"/>
    <p:sldId id="5092" r:id="rId43"/>
    <p:sldId id="5097" r:id="rId44"/>
    <p:sldId id="5305" r:id="rId45"/>
    <p:sldId id="5306" r:id="rId46"/>
    <p:sldId id="5308" r:id="rId47"/>
    <p:sldId id="5309" r:id="rId48"/>
    <p:sldId id="5289" r:id="rId49"/>
  </p:sldIdLst>
  <p:sldSz cx="12192000" cy="6858000"/>
  <p:notesSz cx="6858000" cy="9144000"/>
  <p:custDataLst>
    <p:tags r:id="rId51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D67BC"/>
    <a:srgbClr val="92D050"/>
    <a:srgbClr val="00FF00"/>
    <a:srgbClr val="BFBFBF"/>
    <a:srgbClr val="FF66CC"/>
    <a:srgbClr val="6600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843" autoAdjust="0"/>
    <p:restoredTop sz="95097" autoAdjust="0"/>
  </p:normalViewPr>
  <p:slideViewPr>
    <p:cSldViewPr snapToGrid="0">
      <p:cViewPr varScale="1">
        <p:scale>
          <a:sx n="114" d="100"/>
          <a:sy n="114" d="100"/>
        </p:scale>
        <p:origin x="520" y="168"/>
      </p:cViewPr>
      <p:guideLst/>
    </p:cSldViewPr>
  </p:slideViewPr>
  <p:outlineViewPr>
    <p:cViewPr>
      <p:scale>
        <a:sx n="33" d="100"/>
        <a:sy n="33" d="100"/>
      </p:scale>
      <p:origin x="0" y="-1925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0" d="100"/>
        <a:sy n="70" d="100"/>
      </p:scale>
      <p:origin x="0" y="-741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slide" Target="slides/slide29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slide" Target="slides/slide32.xml"/><Relationship Id="rId47" Type="http://schemas.openxmlformats.org/officeDocument/2006/relationships/slide" Target="slides/slide37.xml"/><Relationship Id="rId50" Type="http://schemas.openxmlformats.org/officeDocument/2006/relationships/notesMaster" Target="notesMasters/notesMaster1.xml"/><Relationship Id="rId55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9" Type="http://schemas.openxmlformats.org/officeDocument/2006/relationships/slide" Target="slides/slide19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slide" Target="slides/slide30.xml"/><Relationship Id="rId45" Type="http://schemas.openxmlformats.org/officeDocument/2006/relationships/slide" Target="slides/slide35.xml"/><Relationship Id="rId53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4" Type="http://schemas.openxmlformats.org/officeDocument/2006/relationships/slide" Target="slides/slide34.xml"/><Relationship Id="rId52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slide" Target="slides/slide33.xml"/><Relationship Id="rId48" Type="http://schemas.openxmlformats.org/officeDocument/2006/relationships/slide" Target="slides/slide38.xml"/><Relationship Id="rId8" Type="http://schemas.openxmlformats.org/officeDocument/2006/relationships/slideMaster" Target="slideMasters/slideMaster8.xml"/><Relationship Id="rId51" Type="http://schemas.openxmlformats.org/officeDocument/2006/relationships/tags" Target="tags/tag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46" Type="http://schemas.openxmlformats.org/officeDocument/2006/relationships/slide" Target="slides/slide36.xml"/><Relationship Id="rId20" Type="http://schemas.openxmlformats.org/officeDocument/2006/relationships/slide" Target="slides/slide10.xml"/><Relationship Id="rId41" Type="http://schemas.openxmlformats.org/officeDocument/2006/relationships/slide" Target="slides/slide31.xml"/><Relationship Id="rId54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49" Type="http://schemas.openxmlformats.org/officeDocument/2006/relationships/slide" Target="slides/slide39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Microsoft_Excelu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Microsoft_Excelu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Microsoft_Excelu10.xlsx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Microsoft_Excelu11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Microsoft_Excelu12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Microsoft_Excelu13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Microsoft_Excelu14.xlsx"/><Relationship Id="rId1" Type="http://schemas.openxmlformats.org/officeDocument/2006/relationships/themeOverride" Target="../theme/themeOverride4.xml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Microsoft_Excelu15.xlsx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package" Target="../embeddings/List_Microsoft_Excelu16.xlsx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package" Target="../embeddings/List_Microsoft_Excelu17.xlsx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package" Target="../embeddings/List_Microsoft_Excelu18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Microsoft_Excelu1.xlsx"/><Relationship Id="rId1" Type="http://schemas.openxmlformats.org/officeDocument/2006/relationships/themeOverride" Target="../theme/themeOverride1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13.xml"/><Relationship Id="rId1" Type="http://schemas.microsoft.com/office/2011/relationships/chartStyle" Target="style13.xml"/><Relationship Id="rId4" Type="http://schemas.openxmlformats.org/officeDocument/2006/relationships/package" Target="../embeddings/List_Microsoft_Excelu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Microsoft_Excelu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Microsoft_Excelu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Microsoft_Excelu22.xlsx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Microsoft_Excelu2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Microsoft_Excelu2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Microsoft_Excelu2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Microsoft_Excelu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List_Microsoft_Excelu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List_Microsoft_Excelu4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Microsoft_Excelu5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Microsoft_Excelu6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Microsoft_Excelu7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Microsoft_Excelu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472041650353186E-2"/>
          <c:y val="3.2390254549422966E-2"/>
          <c:w val="0.90331088055397146"/>
          <c:h val="0.7212833874444111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9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C89A-44A9-94FF-467EA9116DC6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3</c:f>
              <c:strCache>
                <c:ptCount val="32"/>
                <c:pt idx="0">
                  <c:v>Řecko*</c:v>
                </c:pt>
                <c:pt idx="1">
                  <c:v>Slovinsko</c:v>
                </c:pt>
                <c:pt idx="2">
                  <c:v>Kypr*</c:v>
                </c:pt>
                <c:pt idx="3">
                  <c:v>Černá Hora</c:v>
                </c:pt>
                <c:pt idx="4">
                  <c:v>Itálie</c:v>
                </c:pt>
                <c:pt idx="5">
                  <c:v>Srbsko</c:v>
                </c:pt>
                <c:pt idx="6">
                  <c:v>Španělsko</c:v>
                </c:pt>
                <c:pt idx="7">
                  <c:v>Litva</c:v>
                </c:pt>
                <c:pt idx="8">
                  <c:v>Chorvastko</c:v>
                </c:pt>
                <c:pt idx="9">
                  <c:v>Švýcarsko</c:v>
                </c:pt>
                <c:pt idx="10">
                  <c:v>Maďarsko</c:v>
                </c:pt>
                <c:pt idx="11">
                  <c:v>Portugalsko</c:v>
                </c:pt>
                <c:pt idx="12">
                  <c:v>Bulharsko</c:v>
                </c:pt>
                <c:pt idx="13">
                  <c:v>Severní Makedonie</c:v>
                </c:pt>
                <c:pt idx="14">
                  <c:v>Malta</c:v>
                </c:pt>
                <c:pt idx="15">
                  <c:v>Norsko</c:v>
                </c:pt>
                <c:pt idx="16">
                  <c:v>Německo</c:v>
                </c:pt>
                <c:pt idx="17">
                  <c:v>Rakousko</c:v>
                </c:pt>
                <c:pt idx="18">
                  <c:v>Rumunsko</c:v>
                </c:pt>
                <c:pt idx="19">
                  <c:v>Česká Republika</c:v>
                </c:pt>
                <c:pt idx="20">
                  <c:v>Belgie</c:v>
                </c:pt>
                <c:pt idx="21">
                  <c:v>Finsko</c:v>
                </c:pt>
                <c:pt idx="22">
                  <c:v>Lichtenštejnsko</c:v>
                </c:pt>
                <c:pt idx="23">
                  <c:v>Francie</c:v>
                </c:pt>
                <c:pt idx="24">
                  <c:v>Lotyšsko</c:v>
                </c:pt>
                <c:pt idx="25">
                  <c:v>Estonsko</c:v>
                </c:pt>
                <c:pt idx="26">
                  <c:v>Turecko</c:v>
                </c:pt>
                <c:pt idx="27">
                  <c:v>Nizozemsko</c:v>
                </c:pt>
                <c:pt idx="28">
                  <c:v>Švédsko*</c:v>
                </c:pt>
                <c:pt idx="29">
                  <c:v>Irsko</c:v>
                </c:pt>
                <c:pt idx="30">
                  <c:v>Dánsko*</c:v>
                </c:pt>
                <c:pt idx="31">
                  <c:v>Island*</c:v>
                </c:pt>
              </c:strCache>
            </c:strRef>
          </c:cat>
          <c:val>
            <c:numRef>
              <c:f>List1!$B$2:$B$33</c:f>
              <c:numCache>
                <c:formatCode>General</c:formatCode>
                <c:ptCount val="32"/>
                <c:pt idx="0">
                  <c:v>39.979999999999997</c:v>
                </c:pt>
                <c:pt idx="1">
                  <c:v>31.77</c:v>
                </c:pt>
                <c:pt idx="2">
                  <c:v>31.52</c:v>
                </c:pt>
                <c:pt idx="3">
                  <c:v>29.62</c:v>
                </c:pt>
                <c:pt idx="4">
                  <c:v>27.87</c:v>
                </c:pt>
                <c:pt idx="5">
                  <c:v>27.24</c:v>
                </c:pt>
                <c:pt idx="6">
                  <c:v>27.09</c:v>
                </c:pt>
                <c:pt idx="7">
                  <c:v>23.4</c:v>
                </c:pt>
                <c:pt idx="8">
                  <c:v>22.78</c:v>
                </c:pt>
                <c:pt idx="9">
                  <c:v>22.74</c:v>
                </c:pt>
                <c:pt idx="10">
                  <c:v>21.91</c:v>
                </c:pt>
                <c:pt idx="11">
                  <c:v>21.39</c:v>
                </c:pt>
                <c:pt idx="12">
                  <c:v>20.36</c:v>
                </c:pt>
                <c:pt idx="13">
                  <c:v>19.829999999999998</c:v>
                </c:pt>
                <c:pt idx="14">
                  <c:v>18.82</c:v>
                </c:pt>
                <c:pt idx="15">
                  <c:v>17.989999999999998</c:v>
                </c:pt>
                <c:pt idx="16">
                  <c:v>17.7</c:v>
                </c:pt>
                <c:pt idx="17">
                  <c:v>16.84</c:v>
                </c:pt>
                <c:pt idx="18">
                  <c:v>15.1</c:v>
                </c:pt>
                <c:pt idx="19">
                  <c:v>14.46</c:v>
                </c:pt>
                <c:pt idx="20">
                  <c:v>13.79</c:v>
                </c:pt>
                <c:pt idx="21">
                  <c:v>12.86</c:v>
                </c:pt>
                <c:pt idx="22">
                  <c:v>12.85</c:v>
                </c:pt>
                <c:pt idx="23">
                  <c:v>12.56</c:v>
                </c:pt>
                <c:pt idx="24">
                  <c:v>12.31</c:v>
                </c:pt>
                <c:pt idx="25">
                  <c:v>11.43</c:v>
                </c:pt>
                <c:pt idx="26">
                  <c:v>10.95</c:v>
                </c:pt>
                <c:pt idx="27">
                  <c:v>10.89</c:v>
                </c:pt>
                <c:pt idx="28">
                  <c:v>10.55</c:v>
                </c:pt>
                <c:pt idx="29">
                  <c:v>10.41</c:v>
                </c:pt>
                <c:pt idx="30">
                  <c:v>8.69</c:v>
                </c:pt>
                <c:pt idx="31">
                  <c:v>4.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671-4353-BBC4-6B40C8F3180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143280591"/>
        <c:axId val="1143279343"/>
      </c:barChart>
      <c:catAx>
        <c:axId val="1143280591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143279343"/>
        <c:crosses val="autoZero"/>
        <c:auto val="1"/>
        <c:lblAlgn val="ctr"/>
        <c:lblOffset val="100"/>
        <c:noMultiLvlLbl val="0"/>
      </c:catAx>
      <c:valAx>
        <c:axId val="1143279343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Počet praktických lékařů pro děti a dorost </a:t>
                </a:r>
              </a:p>
              <a:p>
                <a:pPr>
                  <a:defRPr>
                    <a:solidFill>
                      <a:schemeClr val="tx1"/>
                    </a:solidFill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na 100 000 obyvatel</a:t>
                </a:r>
              </a:p>
            </c:rich>
          </c:tx>
          <c:layout>
            <c:manualLayout>
              <c:xMode val="edge"/>
              <c:yMode val="edge"/>
              <c:x val="7.1157263350087154E-3"/>
              <c:y val="1.4048072463372712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14328059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muži</c:v>
                </c:pt>
              </c:strCache>
            </c:strRef>
          </c:tx>
          <c:spPr>
            <a:ln>
              <a:solidFill>
                <a:srgbClr val="00B0F0"/>
              </a:solidFill>
            </a:ln>
          </c:spPr>
          <c:marker>
            <c:symbol val="diamond"/>
            <c:size val="6"/>
            <c:spPr>
              <a:solidFill>
                <a:srgbClr val="00B0F0"/>
              </a:solidFill>
              <a:ln>
                <a:noFill/>
              </a:ln>
            </c:spPr>
          </c:marker>
          <c:dPt>
            <c:idx val="8"/>
            <c:bubble3D val="0"/>
            <c:extLst>
              <c:ext xmlns:c16="http://schemas.microsoft.com/office/drawing/2014/chart" uri="{C3380CC4-5D6E-409C-BE32-E72D297353CC}">
                <c16:uniqueId val="{00000000-7F8D-4DEC-BD11-5803C22BF8A4}"/>
              </c:ext>
            </c:extLst>
          </c:dPt>
          <c:dPt>
            <c:idx val="9"/>
            <c:bubble3D val="0"/>
            <c:extLst>
              <c:ext xmlns:c16="http://schemas.microsoft.com/office/drawing/2014/chart" uri="{C3380CC4-5D6E-409C-BE32-E72D297353CC}">
                <c16:uniqueId val="{00000001-7F8D-4DEC-BD11-5803C22BF8A4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2-7F8D-4DEC-BD11-5803C22BF8A4}"/>
              </c:ext>
            </c:extLst>
          </c:dPt>
          <c:dPt>
            <c:idx val="11"/>
            <c:bubble3D val="0"/>
            <c:extLst>
              <c:ext xmlns:c16="http://schemas.microsoft.com/office/drawing/2014/chart" uri="{C3380CC4-5D6E-409C-BE32-E72D297353CC}">
                <c16:uniqueId val="{00000003-7F8D-4DEC-BD11-5803C22BF8A4}"/>
              </c:ext>
            </c:extLst>
          </c:dPt>
          <c:dPt>
            <c:idx val="12"/>
            <c:bubble3D val="0"/>
            <c:extLst>
              <c:ext xmlns:c16="http://schemas.microsoft.com/office/drawing/2014/chart" uri="{C3380CC4-5D6E-409C-BE32-E72D297353CC}">
                <c16:uniqueId val="{00000004-7F8D-4DEC-BD11-5803C22BF8A4}"/>
              </c:ext>
            </c:extLst>
          </c:dPt>
          <c:dPt>
            <c:idx val="14"/>
            <c:bubble3D val="0"/>
            <c:extLst>
              <c:ext xmlns:c16="http://schemas.microsoft.com/office/drawing/2014/chart" uri="{C3380CC4-5D6E-409C-BE32-E72D297353CC}">
                <c16:uniqueId val="{00000006-7F8D-4DEC-BD11-5803C22BF8A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1200" b="1">
                    <a:solidFill>
                      <a:schemeClr val="tx1"/>
                    </a:solidFill>
                  </a:defRPr>
                </a:pPr>
                <a:endParaRPr lang="cs-CZ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List1!$B$1:$N$1</c:f>
              <c:numCache>
                <c:formatCode>General</c:formatCode>
                <c:ptCount val="13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</c:numCache>
            </c:numRef>
          </c:cat>
          <c:val>
            <c:numRef>
              <c:f>List1!$B$2:$N$2</c:f>
              <c:numCache>
                <c:formatCode>General</c:formatCode>
                <c:ptCount val="13"/>
                <c:pt idx="0">
                  <c:v>21</c:v>
                </c:pt>
                <c:pt idx="1">
                  <c:v>17</c:v>
                </c:pt>
                <c:pt idx="2">
                  <c:v>24</c:v>
                </c:pt>
                <c:pt idx="3">
                  <c:v>15</c:v>
                </c:pt>
                <c:pt idx="4">
                  <c:v>16</c:v>
                </c:pt>
                <c:pt idx="5">
                  <c:v>19</c:v>
                </c:pt>
                <c:pt idx="6">
                  <c:v>11</c:v>
                </c:pt>
                <c:pt idx="7">
                  <c:v>17</c:v>
                </c:pt>
                <c:pt idx="8">
                  <c:v>11</c:v>
                </c:pt>
                <c:pt idx="9">
                  <c:v>14</c:v>
                </c:pt>
                <c:pt idx="10">
                  <c:v>20</c:v>
                </c:pt>
                <c:pt idx="11">
                  <c:v>25</c:v>
                </c:pt>
                <c:pt idx="12">
                  <c:v>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7F8D-4DEC-BD11-5803C22BF8A4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ženy</c:v>
                </c:pt>
              </c:strCache>
            </c:strRef>
          </c:tx>
          <c:spPr>
            <a:ln>
              <a:solidFill>
                <a:srgbClr val="FF99FF"/>
              </a:solidFill>
            </a:ln>
          </c:spPr>
          <c:marker>
            <c:symbol val="diamond"/>
            <c:size val="6"/>
            <c:spPr>
              <a:solidFill>
                <a:srgbClr val="FF99FF"/>
              </a:solidFill>
              <a:ln>
                <a:noFill/>
              </a:ln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1200" b="1">
                    <a:solidFill>
                      <a:schemeClr val="tx1"/>
                    </a:solidFill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List1!$B$1:$N$1</c:f>
              <c:numCache>
                <c:formatCode>General</c:formatCode>
                <c:ptCount val="13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</c:numCache>
            </c:numRef>
          </c:cat>
          <c:val>
            <c:numRef>
              <c:f>List1!$B$3:$N$3</c:f>
              <c:numCache>
                <c:formatCode>General</c:formatCode>
                <c:ptCount val="13"/>
                <c:pt idx="0">
                  <c:v>72</c:v>
                </c:pt>
                <c:pt idx="1">
                  <c:v>67</c:v>
                </c:pt>
                <c:pt idx="2">
                  <c:v>70</c:v>
                </c:pt>
                <c:pt idx="3">
                  <c:v>95</c:v>
                </c:pt>
                <c:pt idx="4">
                  <c:v>97</c:v>
                </c:pt>
                <c:pt idx="5">
                  <c:v>87</c:v>
                </c:pt>
                <c:pt idx="6">
                  <c:v>79</c:v>
                </c:pt>
                <c:pt idx="7">
                  <c:v>70</c:v>
                </c:pt>
                <c:pt idx="8">
                  <c:v>82</c:v>
                </c:pt>
                <c:pt idx="9">
                  <c:v>81</c:v>
                </c:pt>
                <c:pt idx="10">
                  <c:v>85</c:v>
                </c:pt>
                <c:pt idx="11">
                  <c:v>73</c:v>
                </c:pt>
                <c:pt idx="12">
                  <c:v>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7F8D-4DEC-BD11-5803C22BF8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9871232"/>
        <c:axId val="59879808"/>
      </c:lineChart>
      <c:catAx>
        <c:axId val="5987123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txPr>
          <a:bodyPr rot="-2700000"/>
          <a:lstStyle/>
          <a:p>
            <a:pPr>
              <a:defRPr/>
            </a:pPr>
            <a:endParaRPr lang="cs-CZ"/>
          </a:p>
        </c:txPr>
        <c:crossAx val="59879808"/>
        <c:crosses val="autoZero"/>
        <c:auto val="1"/>
        <c:lblAlgn val="ctr"/>
        <c:lblOffset val="100"/>
        <c:tickLblSkip val="1"/>
        <c:noMultiLvlLbl val="0"/>
      </c:catAx>
      <c:valAx>
        <c:axId val="59879808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5987123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cs-CZ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>
                <a:solidFill>
                  <a:schemeClr val="tx1"/>
                </a:solidFill>
              </a:rPr>
              <a:t>%</a:t>
            </a:r>
            <a:r>
              <a:rPr lang="en-US" b="1" baseline="0" dirty="0">
                <a:solidFill>
                  <a:schemeClr val="tx1"/>
                </a:solidFill>
              </a:rPr>
              <a:t> kapitac</a:t>
            </a:r>
            <a:r>
              <a:rPr lang="cs-CZ" b="1" baseline="0" dirty="0">
                <a:solidFill>
                  <a:schemeClr val="tx1"/>
                </a:solidFill>
              </a:rPr>
              <a:t>í v roce 2022</a:t>
            </a:r>
            <a:endParaRPr lang="cs-CZ" b="1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9.4662039703136414E-2"/>
          <c:y val="0.11003869302653602"/>
          <c:w val="0.87399782363191703"/>
          <c:h val="0.56871023380061558"/>
        </c:manualLayout>
      </c:layout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Celkem</c:v>
                </c:pt>
              </c:strCache>
            </c:strRef>
          </c:tx>
          <c:explosion val="47"/>
          <c:dPt>
            <c:idx val="0"/>
            <c:bubble3D val="0"/>
            <c:explosion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A70-47FF-8D71-9697057F7844}"/>
              </c:ext>
            </c:extLst>
          </c:dPt>
          <c:dPt>
            <c:idx val="1"/>
            <c:bubble3D val="0"/>
            <c:explosion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A70-47FF-8D71-9697057F7844}"/>
              </c:ext>
            </c:extLst>
          </c:dPt>
          <c:dPt>
            <c:idx val="2"/>
            <c:bubble3D val="0"/>
            <c:explosion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A70-47FF-8D71-9697057F7844}"/>
              </c:ext>
            </c:extLst>
          </c:dPt>
          <c:dPt>
            <c:idx val="3"/>
            <c:bubble3D val="0"/>
            <c:explosion val="0"/>
            <c:spPr>
              <a:solidFill>
                <a:schemeClr val="tx1">
                  <a:lumMod val="95000"/>
                  <a:lumOff val="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A70-47FF-8D71-9697057F7844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0282572C-1CC4-5144-B305-A6CEC64BDD0C}" type="CELLRANGE">
                      <a:rPr lang="en-US" dirty="0"/>
                      <a:pPr/>
                      <a:t>[OBLAST BUNĚK]</a:t>
                    </a:fld>
                    <a:endParaRPr lang="cs-CZ"/>
                  </a:p>
                </c:rich>
              </c:tx>
              <c:dLblPos val="bestFi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AA70-47FF-8D71-9697057F7844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A8B5E182-F866-CB4D-95C5-50021AF5C6AD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bestFi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AA70-47FF-8D71-9697057F7844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808943EF-5548-9C49-B340-ED8855CD4D85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dLblPos val="bestFi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AA70-47FF-8D71-9697057F7844}"/>
                </c:ext>
              </c:extLst>
            </c:dLbl>
            <c:dLbl>
              <c:idx val="3"/>
              <c:layout>
                <c:manualLayout>
                  <c:x val="-1.9071266706055688E-4"/>
                  <c:y val="1.3797956788149409E-2"/>
                </c:manualLayout>
              </c:layout>
              <c:tx>
                <c:rich>
                  <a:bodyPr/>
                  <a:lstStyle/>
                  <a:p>
                    <a:fld id="{39161444-A309-2240-BFE5-40D127679E14}" type="CELLRANGE">
                      <a:rPr lang="en-US" dirty="0"/>
                      <a:pPr/>
                      <a:t>[OBLAST BUNĚK]</a:t>
                    </a:fld>
                    <a:endParaRPr lang="cs-CZ"/>
                  </a:p>
                </c:rich>
              </c:tx>
              <c:dLblPos val="bestFi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AA70-47FF-8D71-9697057F784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</c:ext>
            </c:extLst>
          </c:dLbls>
          <c:cat>
            <c:strRef>
              <c:f>List1!$A$2:$A$5</c:f>
              <c:strCache>
                <c:ptCount val="4"/>
                <c:pt idx="0">
                  <c:v>Praktik by mohl mít volnou kapacitu</c:v>
                </c:pt>
                <c:pt idx="1">
                  <c:v>Praktik má průměrně zaplněnou kapacitu</c:v>
                </c:pt>
                <c:pt idx="2">
                  <c:v>Praktik zřejmě nebude mít volnou kapacitu</c:v>
                </c:pt>
                <c:pt idx="3">
                  <c:v>Kapitace PLDD nebyla vykázána</c:v>
                </c:pt>
              </c:strCache>
            </c:strRef>
          </c:cat>
          <c:val>
            <c:numRef>
              <c:f>List1!$B$2:$B$5</c:f>
              <c:numCache>
                <c:formatCode>General</c:formatCode>
                <c:ptCount val="4"/>
                <c:pt idx="0">
                  <c:v>94396</c:v>
                </c:pt>
                <c:pt idx="1">
                  <c:v>1293708</c:v>
                </c:pt>
                <c:pt idx="2">
                  <c:v>646004</c:v>
                </c:pt>
                <c:pt idx="3">
                  <c:v>273389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List1!$C$2:$C$5</c15:f>
                <c15:dlblRangeCache>
                  <c:ptCount val="4"/>
                  <c:pt idx="0">
                    <c:v>4,09%</c:v>
                  </c:pt>
                  <c:pt idx="1">
                    <c:v>56,07%</c:v>
                  </c:pt>
                  <c:pt idx="2">
                    <c:v>28,00%</c:v>
                  </c:pt>
                  <c:pt idx="3">
                    <c:v>11,85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8-AA70-47FF-8D71-9697057F7844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Sloupec2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A-AA70-47FF-8D71-9697057F784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C-AA70-47FF-8D71-9697057F784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E-AA70-47FF-8D71-9697057F7844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0-AA70-47FF-8D71-9697057F7844}"/>
              </c:ext>
            </c:extLst>
          </c:dPt>
          <c:cat>
            <c:strRef>
              <c:f>List1!$A$2:$A$5</c:f>
              <c:strCache>
                <c:ptCount val="4"/>
                <c:pt idx="0">
                  <c:v>Praktik by mohl mít volnou kapacitu</c:v>
                </c:pt>
                <c:pt idx="1">
                  <c:v>Praktik má průměrně zaplněnou kapacitu</c:v>
                </c:pt>
                <c:pt idx="2">
                  <c:v>Praktik zřejmě nebude mít volnou kapacitu</c:v>
                </c:pt>
                <c:pt idx="3">
                  <c:v>Kapitace PLDD nebyla vykázána</c:v>
                </c:pt>
              </c:strCache>
            </c:strRef>
          </c:cat>
          <c:val>
            <c:numRef>
              <c:f>List1!$C$2:$C$5</c:f>
              <c:numCache>
                <c:formatCode>0.00%</c:formatCode>
                <c:ptCount val="4"/>
                <c:pt idx="0">
                  <c:v>4.0908395547209812E-2</c:v>
                </c:pt>
                <c:pt idx="1">
                  <c:v>0.56065425003802827</c:v>
                </c:pt>
                <c:pt idx="2">
                  <c:v>0.27995876050976448</c:v>
                </c:pt>
                <c:pt idx="3">
                  <c:v>0.118478593904997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AA70-47FF-8D71-9697057F78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0892466725002306"/>
          <c:y val="0.61866398612323958"/>
          <c:w val="0.87713274100222627"/>
          <c:h val="0.3673712867249874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amostatná ordinace praktického lékaře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C04E-4FD9-9948-577841CBA82A}"/>
              </c:ext>
            </c:extLst>
          </c:dPt>
          <c:dPt>
            <c:idx val="7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4E0-4802-8024-6D1AAE8B2C06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4E0-4802-8024-6D1AAE8B2C06}"/>
              </c:ext>
            </c:extLst>
          </c:dPt>
          <c:dPt>
            <c:idx val="9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BD41-402E-BD9C-2B457FFB99EC}"/>
              </c:ext>
            </c:extLst>
          </c:dPt>
          <c:dPt>
            <c:idx val="10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4E0-4802-8024-6D1AAE8B2C0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Středočeský kraj</c:v>
                </c:pt>
                <c:pt idx="1">
                  <c:v>Plzeňský kraj</c:v>
                </c:pt>
                <c:pt idx="2">
                  <c:v>Vysočina</c:v>
                </c:pt>
                <c:pt idx="3">
                  <c:v>Pardubický kraj</c:v>
                </c:pt>
                <c:pt idx="4">
                  <c:v>Karlovarský kraj</c:v>
                </c:pt>
                <c:pt idx="5">
                  <c:v>Ústecký kraj</c:v>
                </c:pt>
                <c:pt idx="6">
                  <c:v>Moravskoslezský kraj</c:v>
                </c:pt>
                <c:pt idx="7">
                  <c:v>Zlínský kraj</c:v>
                </c:pt>
                <c:pt idx="8">
                  <c:v>ČR</c:v>
                </c:pt>
                <c:pt idx="9">
                  <c:v>Jihomoravský kraj</c:v>
                </c:pt>
                <c:pt idx="10">
                  <c:v>Jihočeský kraj</c:v>
                </c:pt>
                <c:pt idx="11">
                  <c:v>Olomoucký kraj</c:v>
                </c:pt>
                <c:pt idx="12">
                  <c:v>Liberecký kraj</c:v>
                </c:pt>
                <c:pt idx="13">
                  <c:v>Královéhradec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0.0</c:formatCode>
                <c:ptCount val="15"/>
                <c:pt idx="0">
                  <c:v>1623.9763354001934</c:v>
                </c:pt>
                <c:pt idx="1">
                  <c:v>1517.6509386098428</c:v>
                </c:pt>
                <c:pt idx="2">
                  <c:v>1506.4376799670918</c:v>
                </c:pt>
                <c:pt idx="3">
                  <c:v>1484.5241792056008</c:v>
                </c:pt>
                <c:pt idx="4">
                  <c:v>1471.7070707070707</c:v>
                </c:pt>
                <c:pt idx="5">
                  <c:v>1469.9285092175933</c:v>
                </c:pt>
                <c:pt idx="6">
                  <c:v>1436.7678722632152</c:v>
                </c:pt>
                <c:pt idx="7">
                  <c:v>1434.3568156493748</c:v>
                </c:pt>
                <c:pt idx="8">
                  <c:v>1423.9389796682708</c:v>
                </c:pt>
                <c:pt idx="9">
                  <c:v>1414.0341646497598</c:v>
                </c:pt>
                <c:pt idx="10">
                  <c:v>1362.9981741484605</c:v>
                </c:pt>
                <c:pt idx="11">
                  <c:v>1341.0475886298309</c:v>
                </c:pt>
                <c:pt idx="12">
                  <c:v>1333.4427501417445</c:v>
                </c:pt>
                <c:pt idx="13">
                  <c:v>1317.4838509760923</c:v>
                </c:pt>
                <c:pt idx="14">
                  <c:v>1271.48461618838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4E0-4802-8024-6D1AAE8B2C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864141328"/>
        <c:axId val="864140936"/>
      </c:barChart>
      <c:catAx>
        <c:axId val="86414132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64140936"/>
        <c:crosses val="autoZero"/>
        <c:auto val="1"/>
        <c:lblAlgn val="ctr"/>
        <c:lblOffset val="100"/>
        <c:noMultiLvlLbl val="0"/>
      </c:catAx>
      <c:valAx>
        <c:axId val="864140936"/>
        <c:scaling>
          <c:orientation val="minMax"/>
        </c:scaling>
        <c:delete val="0"/>
        <c:axPos val="t"/>
        <c:numFmt formatCode="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641413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amostatná ordinace praktického lékaře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6B0-403F-8B5F-18F62020534B}"/>
              </c:ext>
            </c:extLst>
          </c:dPt>
          <c:dPt>
            <c:idx val="7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6B0-403F-8B5F-18F62020534B}"/>
              </c:ext>
            </c:extLst>
          </c:dPt>
          <c:dPt>
            <c:idx val="8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6B0-403F-8B5F-18F62020534B}"/>
              </c:ext>
            </c:extLst>
          </c:dPt>
          <c:dPt>
            <c:idx val="9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6B0-403F-8B5F-18F62020534B}"/>
              </c:ext>
            </c:extLst>
          </c:dPt>
          <c:dPt>
            <c:idx val="10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36B0-403F-8B5F-18F62020534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Hlavní město Praha</c:v>
                </c:pt>
                <c:pt idx="1">
                  <c:v>Středočeský kraj</c:v>
                </c:pt>
                <c:pt idx="2">
                  <c:v>Ústecký kraj</c:v>
                </c:pt>
                <c:pt idx="3">
                  <c:v>Plzeňský kraj</c:v>
                </c:pt>
                <c:pt idx="4">
                  <c:v>Karlovarský kraj</c:v>
                </c:pt>
                <c:pt idx="5">
                  <c:v>Moravskoslezský kraj</c:v>
                </c:pt>
                <c:pt idx="6">
                  <c:v>ČR</c:v>
                </c:pt>
                <c:pt idx="7">
                  <c:v>Pardubický kraj</c:v>
                </c:pt>
                <c:pt idx="8">
                  <c:v>Liberecký kraj</c:v>
                </c:pt>
                <c:pt idx="9">
                  <c:v>Jihomoravský kraj</c:v>
                </c:pt>
                <c:pt idx="10">
                  <c:v>Jihočeský kraj</c:v>
                </c:pt>
                <c:pt idx="11">
                  <c:v>Královéhradecký kraj</c:v>
                </c:pt>
                <c:pt idx="12">
                  <c:v>Zlínský kraj</c:v>
                </c:pt>
                <c:pt idx="13">
                  <c:v>Vysočina</c:v>
                </c:pt>
                <c:pt idx="14">
                  <c:v>Olomoucký kraj</c:v>
                </c:pt>
              </c:strCache>
            </c:strRef>
          </c:cat>
          <c:val>
            <c:numRef>
              <c:f>Sheet1!$B$2:$B$16</c:f>
              <c:numCache>
                <c:formatCode>0</c:formatCode>
                <c:ptCount val="15"/>
                <c:pt idx="0">
                  <c:v>1683.6855345911949</c:v>
                </c:pt>
                <c:pt idx="1">
                  <c:v>1614.6990950226245</c:v>
                </c:pt>
                <c:pt idx="2">
                  <c:v>1551.9291187739464</c:v>
                </c:pt>
                <c:pt idx="3">
                  <c:v>1503.1608040201006</c:v>
                </c:pt>
                <c:pt idx="4">
                  <c:v>1494.3487179487179</c:v>
                </c:pt>
                <c:pt idx="5">
                  <c:v>1475.4981366459626</c:v>
                </c:pt>
                <c:pt idx="6">
                  <c:v>1468.8771331058022</c:v>
                </c:pt>
                <c:pt idx="7">
                  <c:v>1440.7205479452055</c:v>
                </c:pt>
                <c:pt idx="8">
                  <c:v>1436.8167202572347</c:v>
                </c:pt>
                <c:pt idx="9">
                  <c:v>1424.4770318021201</c:v>
                </c:pt>
                <c:pt idx="10">
                  <c:v>1370.1582278481012</c:v>
                </c:pt>
                <c:pt idx="11">
                  <c:v>1364.7506172839505</c:v>
                </c:pt>
                <c:pt idx="12">
                  <c:v>1319.5102505694761</c:v>
                </c:pt>
                <c:pt idx="13">
                  <c:v>1317.9974293059126</c:v>
                </c:pt>
                <c:pt idx="14">
                  <c:v>1274.94534412955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6B0-403F-8B5F-18F6202053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864141328"/>
        <c:axId val="864140936"/>
      </c:barChart>
      <c:catAx>
        <c:axId val="86414132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64140936"/>
        <c:crosses val="autoZero"/>
        <c:auto val="1"/>
        <c:lblAlgn val="ctr"/>
        <c:lblOffset val="100"/>
        <c:noMultiLvlLbl val="0"/>
      </c:catAx>
      <c:valAx>
        <c:axId val="864140936"/>
        <c:scaling>
          <c:orientation val="minMax"/>
        </c:scaling>
        <c:delete val="0"/>
        <c:axPos val="t"/>
        <c:numFmt formatCode="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8641413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472041650353186E-2"/>
          <c:y val="3.2390254549422966E-2"/>
          <c:w val="0.90331088055397146"/>
          <c:h val="0.7212833874444111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24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3C30-4883-963B-FF5B21686DF4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32</c:f>
              <c:strCache>
                <c:ptCount val="31"/>
                <c:pt idx="0">
                  <c:v>Portugalsko</c:v>
                </c:pt>
                <c:pt idx="1">
                  <c:v>Irsko</c:v>
                </c:pt>
                <c:pt idx="2">
                  <c:v>Nizozemsko</c:v>
                </c:pt>
                <c:pt idx="3">
                  <c:v>Rakousko</c:v>
                </c:pt>
                <c:pt idx="4">
                  <c:v>Francie</c:v>
                </c:pt>
                <c:pt idx="5">
                  <c:v>Lichtenštejnsko</c:v>
                </c:pt>
                <c:pt idx="6">
                  <c:v>Belgie</c:v>
                </c:pt>
                <c:pt idx="7">
                  <c:v>Švýcarsko</c:v>
                </c:pt>
                <c:pt idx="8">
                  <c:v>Německo</c:v>
                </c:pt>
                <c:pt idx="9">
                  <c:v>Norsko</c:v>
                </c:pt>
                <c:pt idx="10">
                  <c:v>Litva</c:v>
                </c:pt>
                <c:pt idx="11">
                  <c:v>Kypr*</c:v>
                </c:pt>
                <c:pt idx="12">
                  <c:v>Severní Makedonie</c:v>
                </c:pt>
                <c:pt idx="13">
                  <c:v>Španělsko</c:v>
                </c:pt>
                <c:pt idx="14">
                  <c:v>Itálie</c:v>
                </c:pt>
                <c:pt idx="15">
                  <c:v>Srbsko</c:v>
                </c:pt>
                <c:pt idx="16">
                  <c:v>Estonsko</c:v>
                </c:pt>
                <c:pt idx="17">
                  <c:v>Malta</c:v>
                </c:pt>
                <c:pt idx="18">
                  <c:v>Dánsko*</c:v>
                </c:pt>
                <c:pt idx="19">
                  <c:v>Rumunsko</c:v>
                </c:pt>
                <c:pt idx="20">
                  <c:v>Chorvastko</c:v>
                </c:pt>
                <c:pt idx="21">
                  <c:v>Lotyšsko</c:v>
                </c:pt>
                <c:pt idx="22">
                  <c:v>Slovinsko</c:v>
                </c:pt>
                <c:pt idx="23">
                  <c:v>Turecko</c:v>
                </c:pt>
                <c:pt idx="24">
                  <c:v>Česká Republika</c:v>
                </c:pt>
                <c:pt idx="25">
                  <c:v>Maďarsko</c:v>
                </c:pt>
                <c:pt idx="26">
                  <c:v>Švédsko*</c:v>
                </c:pt>
                <c:pt idx="27">
                  <c:v>Bulharsko</c:v>
                </c:pt>
                <c:pt idx="28">
                  <c:v>Island*</c:v>
                </c:pt>
                <c:pt idx="29">
                  <c:v>Černá Hora</c:v>
                </c:pt>
                <c:pt idx="30">
                  <c:v>Řecko*</c:v>
                </c:pt>
              </c:strCache>
            </c:strRef>
          </c:cat>
          <c:val>
            <c:numRef>
              <c:f>List1!$B$2:$B$32</c:f>
              <c:numCache>
                <c:formatCode>General</c:formatCode>
                <c:ptCount val="31"/>
                <c:pt idx="0">
                  <c:v>292.3</c:v>
                </c:pt>
                <c:pt idx="1">
                  <c:v>187.74</c:v>
                </c:pt>
                <c:pt idx="2">
                  <c:v>177.95</c:v>
                </c:pt>
                <c:pt idx="3">
                  <c:v>148.93</c:v>
                </c:pt>
                <c:pt idx="4">
                  <c:v>139.52000000000001</c:v>
                </c:pt>
                <c:pt idx="5">
                  <c:v>128.53</c:v>
                </c:pt>
                <c:pt idx="6">
                  <c:v>118.65</c:v>
                </c:pt>
                <c:pt idx="7">
                  <c:v>114.03</c:v>
                </c:pt>
                <c:pt idx="8">
                  <c:v>102.78</c:v>
                </c:pt>
                <c:pt idx="9">
                  <c:v>98.71</c:v>
                </c:pt>
                <c:pt idx="10">
                  <c:v>97.61</c:v>
                </c:pt>
                <c:pt idx="11">
                  <c:v>95.47</c:v>
                </c:pt>
                <c:pt idx="12">
                  <c:v>91.77</c:v>
                </c:pt>
                <c:pt idx="13">
                  <c:v>91.42</c:v>
                </c:pt>
                <c:pt idx="14">
                  <c:v>84.7</c:v>
                </c:pt>
                <c:pt idx="15">
                  <c:v>81.69</c:v>
                </c:pt>
                <c:pt idx="16">
                  <c:v>81.53</c:v>
                </c:pt>
                <c:pt idx="17">
                  <c:v>80.53</c:v>
                </c:pt>
                <c:pt idx="18">
                  <c:v>79.819999999999993</c:v>
                </c:pt>
                <c:pt idx="19">
                  <c:v>78.62</c:v>
                </c:pt>
                <c:pt idx="20">
                  <c:v>77.11</c:v>
                </c:pt>
                <c:pt idx="21">
                  <c:v>74.510000000000005</c:v>
                </c:pt>
                <c:pt idx="22">
                  <c:v>68.97</c:v>
                </c:pt>
                <c:pt idx="23">
                  <c:v>67.290000000000006</c:v>
                </c:pt>
                <c:pt idx="24">
                  <c:v>66.48</c:v>
                </c:pt>
                <c:pt idx="25">
                  <c:v>66.03</c:v>
                </c:pt>
                <c:pt idx="26">
                  <c:v>62.07</c:v>
                </c:pt>
                <c:pt idx="27">
                  <c:v>60.2</c:v>
                </c:pt>
                <c:pt idx="28">
                  <c:v>59.63</c:v>
                </c:pt>
                <c:pt idx="29">
                  <c:v>50.86</c:v>
                </c:pt>
                <c:pt idx="30">
                  <c:v>44.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671-4353-BBC4-6B40C8F3180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143280591"/>
        <c:axId val="1143279343"/>
      </c:barChart>
      <c:catAx>
        <c:axId val="1143280591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143279343"/>
        <c:crosses val="autoZero"/>
        <c:auto val="1"/>
        <c:lblAlgn val="ctr"/>
        <c:lblOffset val="100"/>
        <c:noMultiLvlLbl val="0"/>
      </c:catAx>
      <c:valAx>
        <c:axId val="1143279343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>
                    <a:solidFill>
                      <a:schemeClr val="tx1"/>
                    </a:solidFill>
                  </a:rPr>
                  <a:t>Počet praktických lékařů na 100 000 obyvatel</a:t>
                </a:r>
              </a:p>
            </c:rich>
          </c:tx>
          <c:layout>
            <c:manualLayout>
              <c:xMode val="edge"/>
              <c:yMode val="edge"/>
              <c:x val="1.6000873822772616E-2"/>
              <c:y val="1.4048072463372712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14328059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celkem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</c:spPr>
          <c:invertIfNegative val="0"/>
          <c:dPt>
            <c:idx val="6"/>
            <c:invertIfNegative val="0"/>
            <c:bubble3D val="0"/>
            <c:spPr>
              <a:solidFill>
                <a:srgbClr val="FF993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7CE-4C38-BCAE-62AD60025E67}"/>
              </c:ext>
            </c:extLst>
          </c:dPt>
          <c:dPt>
            <c:idx val="7"/>
            <c:invertIfNegative val="0"/>
            <c:bubble3D val="0"/>
            <c:spPr>
              <a:solidFill>
                <a:srgbClr val="FF66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57CE-4C38-BCAE-62AD60025E67}"/>
              </c:ext>
            </c:extLst>
          </c:dPt>
          <c:dPt>
            <c:idx val="8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57CE-4C38-BCAE-62AD60025E67}"/>
              </c:ext>
            </c:extLst>
          </c:dPt>
          <c:cat>
            <c:strRef>
              <c:f>List1!$A$2:$A$10</c:f>
              <c:strCache>
                <c:ptCount val="9"/>
                <c:pt idx="0">
                  <c:v>do 34</c:v>
                </c:pt>
                <c:pt idx="1">
                  <c:v>35-39</c:v>
                </c:pt>
                <c:pt idx="2">
                  <c:v>40-44</c:v>
                </c:pt>
                <c:pt idx="3">
                  <c:v>45-49</c:v>
                </c:pt>
                <c:pt idx="4">
                  <c:v>50-54</c:v>
                </c:pt>
                <c:pt idx="5">
                  <c:v>55-59</c:v>
                </c:pt>
                <c:pt idx="6">
                  <c:v>60-64</c:v>
                </c:pt>
                <c:pt idx="7">
                  <c:v>65-69</c:v>
                </c:pt>
                <c:pt idx="8">
                  <c:v>70 a více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460</c:v>
                </c:pt>
                <c:pt idx="1">
                  <c:v>655</c:v>
                </c:pt>
                <c:pt idx="2">
                  <c:v>703</c:v>
                </c:pt>
                <c:pt idx="3">
                  <c:v>648</c:v>
                </c:pt>
                <c:pt idx="4">
                  <c:v>747</c:v>
                </c:pt>
                <c:pt idx="5">
                  <c:v>643</c:v>
                </c:pt>
                <c:pt idx="6">
                  <c:v>783</c:v>
                </c:pt>
                <c:pt idx="7">
                  <c:v>1058</c:v>
                </c:pt>
                <c:pt idx="8">
                  <c:v>12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57CE-4C38-BCAE-62AD60025E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axId val="46452096"/>
        <c:axId val="46471040"/>
      </c:barChart>
      <c:catAx>
        <c:axId val="4645209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txPr>
          <a:bodyPr rot="-2700000"/>
          <a:lstStyle/>
          <a:p>
            <a:pPr>
              <a:defRPr/>
            </a:pPr>
            <a:endParaRPr lang="cs-CZ"/>
          </a:p>
        </c:txPr>
        <c:crossAx val="46471040"/>
        <c:crosses val="autoZero"/>
        <c:auto val="1"/>
        <c:lblAlgn val="ctr"/>
        <c:lblOffset val="100"/>
        <c:tickLblSkip val="1"/>
        <c:noMultiLvlLbl val="0"/>
      </c:catAx>
      <c:valAx>
        <c:axId val="46471040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4645209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cs-CZ"/>
    </a:p>
  </c:txPr>
  <c:externalData r:id="rId2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</c:spPr>
          <c:invertIfNegative val="0"/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8BB-455D-8A0B-B59E9956B440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8BB-455D-8A0B-B59E9956B440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E8BB-455D-8A0B-B59E9956B440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E8BB-455D-8A0B-B59E9956B440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E8BB-455D-8A0B-B59E9956B440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E8BB-455D-8A0B-B59E9956B440}"/>
              </c:ext>
            </c:extLst>
          </c:dPt>
          <c:dPt>
            <c:idx val="1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E8BB-455D-8A0B-B59E9956B440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E8BB-455D-8A0B-B59E9956B44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6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A$2:$A$10</c:f>
              <c:strCache>
                <c:ptCount val="9"/>
                <c:pt idx="0">
                  <c:v>do 34</c:v>
                </c:pt>
                <c:pt idx="1">
                  <c:v>35-39</c:v>
                </c:pt>
                <c:pt idx="2">
                  <c:v>40-44</c:v>
                </c:pt>
                <c:pt idx="3">
                  <c:v>45-49</c:v>
                </c:pt>
                <c:pt idx="4">
                  <c:v>50-54</c:v>
                </c:pt>
                <c:pt idx="5">
                  <c:v>55-59</c:v>
                </c:pt>
                <c:pt idx="6">
                  <c:v>60-64</c:v>
                </c:pt>
                <c:pt idx="7">
                  <c:v>65-69</c:v>
                </c:pt>
                <c:pt idx="8">
                  <c:v>70 a více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155</c:v>
                </c:pt>
                <c:pt idx="1">
                  <c:v>170</c:v>
                </c:pt>
                <c:pt idx="2">
                  <c:v>178</c:v>
                </c:pt>
                <c:pt idx="3">
                  <c:v>204</c:v>
                </c:pt>
                <c:pt idx="4">
                  <c:v>240</c:v>
                </c:pt>
                <c:pt idx="5">
                  <c:v>263</c:v>
                </c:pt>
                <c:pt idx="6">
                  <c:v>312</c:v>
                </c:pt>
                <c:pt idx="7">
                  <c:v>413</c:v>
                </c:pt>
                <c:pt idx="8">
                  <c:v>5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8BB-455D-8A0B-B59E9956B440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ž</c:v>
                </c:pt>
              </c:strCache>
            </c:strRef>
          </c:tx>
          <c:spPr>
            <a:solidFill>
              <a:srgbClr val="FF99F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600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A$2:$A$10</c:f>
              <c:strCache>
                <c:ptCount val="9"/>
                <c:pt idx="0">
                  <c:v>do 34</c:v>
                </c:pt>
                <c:pt idx="1">
                  <c:v>35-39</c:v>
                </c:pt>
                <c:pt idx="2">
                  <c:v>40-44</c:v>
                </c:pt>
                <c:pt idx="3">
                  <c:v>45-49</c:v>
                </c:pt>
                <c:pt idx="4">
                  <c:v>50-54</c:v>
                </c:pt>
                <c:pt idx="5">
                  <c:v>55-59</c:v>
                </c:pt>
                <c:pt idx="6">
                  <c:v>60-64</c:v>
                </c:pt>
                <c:pt idx="7">
                  <c:v>65-69</c:v>
                </c:pt>
                <c:pt idx="8">
                  <c:v>70 a více</c:v>
                </c:pt>
              </c:strCache>
            </c:strRef>
          </c:cat>
          <c:val>
            <c:numRef>
              <c:f>List1!$C$2:$C$10</c:f>
              <c:numCache>
                <c:formatCode>General</c:formatCode>
                <c:ptCount val="9"/>
                <c:pt idx="0">
                  <c:v>305</c:v>
                </c:pt>
                <c:pt idx="1">
                  <c:v>485</c:v>
                </c:pt>
                <c:pt idx="2">
                  <c:v>525</c:v>
                </c:pt>
                <c:pt idx="3">
                  <c:v>444</c:v>
                </c:pt>
                <c:pt idx="4">
                  <c:v>507</c:v>
                </c:pt>
                <c:pt idx="5">
                  <c:v>380</c:v>
                </c:pt>
                <c:pt idx="6">
                  <c:v>471</c:v>
                </c:pt>
                <c:pt idx="7">
                  <c:v>645</c:v>
                </c:pt>
                <c:pt idx="8">
                  <c:v>6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8BB-455D-8A0B-B59E9956B4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71256704"/>
        <c:axId val="71561984"/>
      </c:barChart>
      <c:catAx>
        <c:axId val="7125670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txPr>
          <a:bodyPr rot="-2700000"/>
          <a:lstStyle/>
          <a:p>
            <a:pPr>
              <a:defRPr/>
            </a:pPr>
            <a:endParaRPr lang="cs-CZ"/>
          </a:p>
        </c:txPr>
        <c:crossAx val="71561984"/>
        <c:crosses val="autoZero"/>
        <c:auto val="1"/>
        <c:lblAlgn val="ctr"/>
        <c:lblOffset val="100"/>
        <c:noMultiLvlLbl val="0"/>
      </c:catAx>
      <c:valAx>
        <c:axId val="71561984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7125670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cs-CZ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8E4-44E0-B4A3-F3B9C44E7925}"/>
              </c:ext>
            </c:extLst>
          </c:dPt>
          <c:dPt>
            <c:idx val="1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8E4-44E0-B4A3-F3B9C44E7925}"/>
              </c:ext>
            </c:extLst>
          </c:dPt>
          <c:dPt>
            <c:idx val="2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8E4-44E0-B4A3-F3B9C44E7925}"/>
              </c:ext>
            </c:extLst>
          </c:dPt>
          <c:dPt>
            <c:idx val="3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C8E4-44E0-B4A3-F3B9C44E7925}"/>
              </c:ext>
            </c:extLst>
          </c:dPt>
          <c:dPt>
            <c:idx val="4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C8E4-44E0-B4A3-F3B9C44E7925}"/>
              </c:ext>
            </c:extLst>
          </c:dPt>
          <c:dPt>
            <c:idx val="5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C8E4-44E0-B4A3-F3B9C44E7925}"/>
              </c:ext>
            </c:extLst>
          </c:dPt>
          <c:dPt>
            <c:idx val="6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C8E4-44E0-B4A3-F3B9C44E7925}"/>
              </c:ext>
            </c:extLst>
          </c:dPt>
          <c:dPt>
            <c:idx val="7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C8E4-44E0-B4A3-F3B9C44E7925}"/>
              </c:ext>
            </c:extLst>
          </c:dPt>
          <c:dPt>
            <c:idx val="8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C8E4-44E0-B4A3-F3B9C44E7925}"/>
              </c:ext>
            </c:extLst>
          </c:dPt>
          <c:dPt>
            <c:idx val="9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C8E4-44E0-B4A3-F3B9C44E7925}"/>
              </c:ext>
            </c:extLst>
          </c:dPt>
          <c:dPt>
            <c:idx val="1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C8E4-44E0-B4A3-F3B9C44E7925}"/>
              </c:ext>
            </c:extLst>
          </c:dPt>
          <c:dPt>
            <c:idx val="11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7-C8E4-44E0-B4A3-F3B9C44E7925}"/>
              </c:ext>
            </c:extLst>
          </c:dPt>
          <c:dPt>
            <c:idx val="12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9-C8E4-44E0-B4A3-F3B9C44E7925}"/>
              </c:ext>
            </c:extLst>
          </c:dPt>
          <c:dPt>
            <c:idx val="13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B-C8E4-44E0-B4A3-F3B9C44E7925}"/>
              </c:ext>
            </c:extLst>
          </c:dPt>
          <c:dPt>
            <c:idx val="15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D-C8E4-44E0-B4A3-F3B9C44E7925}"/>
              </c:ext>
            </c:extLst>
          </c:dPt>
          <c:dPt>
            <c:idx val="16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F-C8E4-44E0-B4A3-F3B9C44E7925}"/>
              </c:ext>
            </c:extLst>
          </c:dPt>
          <c:dPt>
            <c:idx val="17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1-C8E4-44E0-B4A3-F3B9C44E7925}"/>
              </c:ext>
            </c:extLst>
          </c:dPt>
          <c:dPt>
            <c:idx val="18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3-C8E4-44E0-B4A3-F3B9C44E7925}"/>
              </c:ext>
            </c:extLst>
          </c:dPt>
          <c:dPt>
            <c:idx val="19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5-C8E4-44E0-B4A3-F3B9C44E7925}"/>
              </c:ext>
            </c:extLst>
          </c:dPt>
          <c:dPt>
            <c:idx val="2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7-C8E4-44E0-B4A3-F3B9C44E792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2</c:f>
              <c:strCache>
                <c:ptCount val="21"/>
                <c:pt idx="0">
                  <c:v>Hlavní město Praha  </c:v>
                </c:pt>
                <c:pt idx="1">
                  <c:v>Plzeňský kraj       </c:v>
                </c:pt>
                <c:pt idx="2">
                  <c:v>Moravskoslezský kraj</c:v>
                </c:pt>
                <c:pt idx="3">
                  <c:v>Královéhradecký kraj</c:v>
                </c:pt>
                <c:pt idx="4">
                  <c:v>Pardubický kraj     </c:v>
                </c:pt>
                <c:pt idx="5">
                  <c:v>Jihomoravský kraj   </c:v>
                </c:pt>
                <c:pt idx="6">
                  <c:v>Kraj Vysočina       </c:v>
                </c:pt>
                <c:pt idx="7">
                  <c:v>Liberecký kraj      </c:v>
                </c:pt>
                <c:pt idx="8">
                  <c:v>Zlínský kraj        </c:v>
                </c:pt>
                <c:pt idx="9">
                  <c:v>Jihočeský kraj      </c:v>
                </c:pt>
                <c:pt idx="10">
                  <c:v>Karlovarský kraj    </c:v>
                </c:pt>
                <c:pt idx="11">
                  <c:v>Olomoucký kraj      </c:v>
                </c:pt>
                <c:pt idx="12">
                  <c:v>Ústecký kraj        </c:v>
                </c:pt>
                <c:pt idx="13">
                  <c:v>Středočeský kraj    </c:v>
                </c:pt>
                <c:pt idx="15">
                  <c:v>≤ 2000</c:v>
                </c:pt>
                <c:pt idx="16">
                  <c:v>2001 - 5000</c:v>
                </c:pt>
                <c:pt idx="17">
                  <c:v>5001 - 10000</c:v>
                </c:pt>
                <c:pt idx="18">
                  <c:v>10001 - 50000</c:v>
                </c:pt>
                <c:pt idx="19">
                  <c:v>50001 - 100000</c:v>
                </c:pt>
                <c:pt idx="20">
                  <c:v>&gt; 100 000 </c:v>
                </c:pt>
              </c:strCache>
            </c:strRef>
          </c:cat>
          <c:val>
            <c:numRef>
              <c:f>Sheet1!$B$2:$B$22</c:f>
              <c:numCache>
                <c:formatCode>General</c:formatCode>
                <c:ptCount val="21"/>
                <c:pt idx="0">
                  <c:v>4</c:v>
                </c:pt>
                <c:pt idx="1">
                  <c:v>3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-2</c:v>
                </c:pt>
                <c:pt idx="8">
                  <c:v>-2</c:v>
                </c:pt>
                <c:pt idx="9">
                  <c:v>-4</c:v>
                </c:pt>
                <c:pt idx="10">
                  <c:v>-4</c:v>
                </c:pt>
                <c:pt idx="11">
                  <c:v>-6</c:v>
                </c:pt>
                <c:pt idx="12">
                  <c:v>-13</c:v>
                </c:pt>
                <c:pt idx="13">
                  <c:v>-18</c:v>
                </c:pt>
                <c:pt idx="15">
                  <c:v>-25</c:v>
                </c:pt>
                <c:pt idx="16">
                  <c:v>-4</c:v>
                </c:pt>
                <c:pt idx="17">
                  <c:v>2</c:v>
                </c:pt>
                <c:pt idx="18">
                  <c:v>-9</c:v>
                </c:pt>
                <c:pt idx="19">
                  <c:v>-1</c:v>
                </c:pt>
                <c:pt idx="20">
                  <c:v>-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8-C8E4-44E0-B4A3-F3B9C44E792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22</c:f>
              <c:strCache>
                <c:ptCount val="21"/>
                <c:pt idx="0">
                  <c:v>Hlavní město Praha  </c:v>
                </c:pt>
                <c:pt idx="1">
                  <c:v>Plzeňský kraj       </c:v>
                </c:pt>
                <c:pt idx="2">
                  <c:v>Moravskoslezský kraj</c:v>
                </c:pt>
                <c:pt idx="3">
                  <c:v>Královéhradecký kraj</c:v>
                </c:pt>
                <c:pt idx="4">
                  <c:v>Pardubický kraj     </c:v>
                </c:pt>
                <c:pt idx="5">
                  <c:v>Jihomoravský kraj   </c:v>
                </c:pt>
                <c:pt idx="6">
                  <c:v>Kraj Vysočina       </c:v>
                </c:pt>
                <c:pt idx="7">
                  <c:v>Liberecký kraj      </c:v>
                </c:pt>
                <c:pt idx="8">
                  <c:v>Zlínský kraj        </c:v>
                </c:pt>
                <c:pt idx="9">
                  <c:v>Jihočeský kraj      </c:v>
                </c:pt>
                <c:pt idx="10">
                  <c:v>Karlovarský kraj    </c:v>
                </c:pt>
                <c:pt idx="11">
                  <c:v>Olomoucký kraj      </c:v>
                </c:pt>
                <c:pt idx="12">
                  <c:v>Ústecký kraj        </c:v>
                </c:pt>
                <c:pt idx="13">
                  <c:v>Středočeský kraj    </c:v>
                </c:pt>
                <c:pt idx="15">
                  <c:v>≤ 2000</c:v>
                </c:pt>
                <c:pt idx="16">
                  <c:v>2001 - 5000</c:v>
                </c:pt>
                <c:pt idx="17">
                  <c:v>5001 - 10000</c:v>
                </c:pt>
                <c:pt idx="18">
                  <c:v>10001 - 50000</c:v>
                </c:pt>
                <c:pt idx="19">
                  <c:v>50001 - 100000</c:v>
                </c:pt>
                <c:pt idx="20">
                  <c:v>&gt; 100 000 </c:v>
                </c:pt>
              </c:strCache>
            </c:strRef>
          </c:cat>
          <c:val>
            <c:numRef>
              <c:f>Sheet1!$C$2:$C$22</c:f>
              <c:numCache>
                <c:formatCode>General</c:formatCode>
                <c:ptCount val="21"/>
              </c:numCache>
            </c:numRef>
          </c:val>
          <c:extLst>
            <c:ext xmlns:c16="http://schemas.microsoft.com/office/drawing/2014/chart" uri="{C3380CC4-5D6E-409C-BE32-E72D297353CC}">
              <c16:uniqueId val="{00000029-C8E4-44E0-B4A3-F3B9C44E792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22</c:f>
              <c:strCache>
                <c:ptCount val="21"/>
                <c:pt idx="0">
                  <c:v>Hlavní město Praha  </c:v>
                </c:pt>
                <c:pt idx="1">
                  <c:v>Plzeňský kraj       </c:v>
                </c:pt>
                <c:pt idx="2">
                  <c:v>Moravskoslezský kraj</c:v>
                </c:pt>
                <c:pt idx="3">
                  <c:v>Královéhradecký kraj</c:v>
                </c:pt>
                <c:pt idx="4">
                  <c:v>Pardubický kraj     </c:v>
                </c:pt>
                <c:pt idx="5">
                  <c:v>Jihomoravský kraj   </c:v>
                </c:pt>
                <c:pt idx="6">
                  <c:v>Kraj Vysočina       </c:v>
                </c:pt>
                <c:pt idx="7">
                  <c:v>Liberecký kraj      </c:v>
                </c:pt>
                <c:pt idx="8">
                  <c:v>Zlínský kraj        </c:v>
                </c:pt>
                <c:pt idx="9">
                  <c:v>Jihočeský kraj      </c:v>
                </c:pt>
                <c:pt idx="10">
                  <c:v>Karlovarský kraj    </c:v>
                </c:pt>
                <c:pt idx="11">
                  <c:v>Olomoucký kraj      </c:v>
                </c:pt>
                <c:pt idx="12">
                  <c:v>Ústecký kraj        </c:v>
                </c:pt>
                <c:pt idx="13">
                  <c:v>Středočeský kraj    </c:v>
                </c:pt>
                <c:pt idx="15">
                  <c:v>≤ 2000</c:v>
                </c:pt>
                <c:pt idx="16">
                  <c:v>2001 - 5000</c:v>
                </c:pt>
                <c:pt idx="17">
                  <c:v>5001 - 10000</c:v>
                </c:pt>
                <c:pt idx="18">
                  <c:v>10001 - 50000</c:v>
                </c:pt>
                <c:pt idx="19">
                  <c:v>50001 - 100000</c:v>
                </c:pt>
                <c:pt idx="20">
                  <c:v>&gt; 100 000 </c:v>
                </c:pt>
              </c:strCache>
            </c:strRef>
          </c:cat>
          <c:val>
            <c:numRef>
              <c:f>Sheet1!$D$2:$D$22</c:f>
              <c:numCache>
                <c:formatCode>General</c:formatCode>
                <c:ptCount val="21"/>
              </c:numCache>
            </c:numRef>
          </c:val>
          <c:extLst>
            <c:ext xmlns:c16="http://schemas.microsoft.com/office/drawing/2014/chart" uri="{C3380CC4-5D6E-409C-BE32-E72D297353CC}">
              <c16:uniqueId val="{0000002A-C8E4-44E0-B4A3-F3B9C44E792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411669192"/>
        <c:axId val="411666448"/>
      </c:barChart>
      <c:catAx>
        <c:axId val="41166919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1666448"/>
        <c:crosses val="autoZero"/>
        <c:auto val="1"/>
        <c:lblAlgn val="ctr"/>
        <c:lblOffset val="100"/>
        <c:noMultiLvlLbl val="0"/>
      </c:catAx>
      <c:valAx>
        <c:axId val="411666448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16691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4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9FD-46B9-BC8C-F8C0FDB6EC1F}"/>
              </c:ext>
            </c:extLst>
          </c:dPt>
          <c:dPt>
            <c:idx val="1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9FD-46B9-BC8C-F8C0FDB6EC1F}"/>
              </c:ext>
            </c:extLst>
          </c:dPt>
          <c:dPt>
            <c:idx val="2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9FD-46B9-BC8C-F8C0FDB6EC1F}"/>
              </c:ext>
            </c:extLst>
          </c:dPt>
          <c:dPt>
            <c:idx val="4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9FD-46B9-BC8C-F8C0FDB6EC1F}"/>
              </c:ext>
            </c:extLst>
          </c:dPt>
          <c:dPt>
            <c:idx val="5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49FD-46B9-BC8C-F8C0FDB6EC1F}"/>
              </c:ext>
            </c:extLst>
          </c:dPt>
          <c:dPt>
            <c:idx val="6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49FD-46B9-BC8C-F8C0FDB6EC1F}"/>
              </c:ext>
            </c:extLst>
          </c:dPt>
          <c:dPt>
            <c:idx val="7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49FD-46B9-BC8C-F8C0FDB6EC1F}"/>
              </c:ext>
            </c:extLst>
          </c:dPt>
          <c:dPt>
            <c:idx val="8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49FD-46B9-BC8C-F8C0FDB6EC1F}"/>
              </c:ext>
            </c:extLst>
          </c:dPt>
          <c:dPt>
            <c:idx val="9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49FD-46B9-BC8C-F8C0FDB6EC1F}"/>
              </c:ext>
            </c:extLst>
          </c:dPt>
          <c:dPt>
            <c:idx val="1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49FD-46B9-BC8C-F8C0FDB6EC1F}"/>
              </c:ext>
            </c:extLst>
          </c:dPt>
          <c:dPt>
            <c:idx val="11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49FD-46B9-BC8C-F8C0FDB6EC1F}"/>
              </c:ext>
            </c:extLst>
          </c:dPt>
          <c:dPt>
            <c:idx val="12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7-49FD-46B9-BC8C-F8C0FDB6EC1F}"/>
              </c:ext>
            </c:extLst>
          </c:dPt>
          <c:dPt>
            <c:idx val="13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9-49FD-46B9-BC8C-F8C0FDB6EC1F}"/>
              </c:ext>
            </c:extLst>
          </c:dPt>
          <c:dPt>
            <c:idx val="15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B-49FD-46B9-BC8C-F8C0FDB6EC1F}"/>
              </c:ext>
            </c:extLst>
          </c:dPt>
          <c:dPt>
            <c:idx val="16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D-49FD-46B9-BC8C-F8C0FDB6EC1F}"/>
              </c:ext>
            </c:extLst>
          </c:dPt>
          <c:dPt>
            <c:idx val="17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F-49FD-46B9-BC8C-F8C0FDB6EC1F}"/>
              </c:ext>
            </c:extLst>
          </c:dPt>
          <c:dPt>
            <c:idx val="18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1-49FD-46B9-BC8C-F8C0FDB6EC1F}"/>
              </c:ext>
            </c:extLst>
          </c:dPt>
          <c:dPt>
            <c:idx val="19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3-49FD-46B9-BC8C-F8C0FDB6EC1F}"/>
              </c:ext>
            </c:extLst>
          </c:dPt>
          <c:dPt>
            <c:idx val="2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5-49FD-46B9-BC8C-F8C0FDB6EC1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2</c:f>
              <c:strCache>
                <c:ptCount val="21"/>
                <c:pt idx="0">
                  <c:v>Hlavní město Praha</c:v>
                </c:pt>
                <c:pt idx="1">
                  <c:v>Liberecký kraj</c:v>
                </c:pt>
                <c:pt idx="2">
                  <c:v>Středočeský kraj</c:v>
                </c:pt>
                <c:pt idx="3">
                  <c:v>Jihočeský kraj</c:v>
                </c:pt>
                <c:pt idx="4">
                  <c:v>Pardubický kraj</c:v>
                </c:pt>
                <c:pt idx="5">
                  <c:v>Karlovarský kraj</c:v>
                </c:pt>
                <c:pt idx="6">
                  <c:v>Olomoucký kraj</c:v>
                </c:pt>
                <c:pt idx="7">
                  <c:v>Plzeňský kraj</c:v>
                </c:pt>
                <c:pt idx="8">
                  <c:v>Královéhradecký kraj</c:v>
                </c:pt>
                <c:pt idx="9">
                  <c:v>Ústecký kraj</c:v>
                </c:pt>
                <c:pt idx="10">
                  <c:v>Zlínský kraj</c:v>
                </c:pt>
                <c:pt idx="11">
                  <c:v>Kraj Vysočina</c:v>
                </c:pt>
                <c:pt idx="12">
                  <c:v>Jihomoravský kraj</c:v>
                </c:pt>
                <c:pt idx="13">
                  <c:v>Moravskoslezský kraj</c:v>
                </c:pt>
                <c:pt idx="15">
                  <c:v>≤ 2000</c:v>
                </c:pt>
                <c:pt idx="16">
                  <c:v>2001 - 5000</c:v>
                </c:pt>
                <c:pt idx="17">
                  <c:v>5001 - 10000</c:v>
                </c:pt>
                <c:pt idx="18">
                  <c:v>10001 - 50000</c:v>
                </c:pt>
                <c:pt idx="19">
                  <c:v>50001 - 100000</c:v>
                </c:pt>
                <c:pt idx="20">
                  <c:v>&gt; 100 000 </c:v>
                </c:pt>
              </c:strCache>
            </c:strRef>
          </c:cat>
          <c:val>
            <c:numRef>
              <c:f>Sheet1!$B$2:$B$22</c:f>
              <c:numCache>
                <c:formatCode>General</c:formatCode>
                <c:ptCount val="21"/>
                <c:pt idx="0">
                  <c:v>10</c:v>
                </c:pt>
                <c:pt idx="1">
                  <c:v>7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-1</c:v>
                </c:pt>
                <c:pt idx="6">
                  <c:v>-2</c:v>
                </c:pt>
                <c:pt idx="7">
                  <c:v>-2</c:v>
                </c:pt>
                <c:pt idx="8">
                  <c:v>-3</c:v>
                </c:pt>
                <c:pt idx="9">
                  <c:v>-3</c:v>
                </c:pt>
                <c:pt idx="10">
                  <c:v>-3</c:v>
                </c:pt>
                <c:pt idx="11">
                  <c:v>-4</c:v>
                </c:pt>
                <c:pt idx="12">
                  <c:v>-9</c:v>
                </c:pt>
                <c:pt idx="13">
                  <c:v>-18</c:v>
                </c:pt>
                <c:pt idx="15">
                  <c:v>-19</c:v>
                </c:pt>
                <c:pt idx="16">
                  <c:v>-3</c:v>
                </c:pt>
                <c:pt idx="17">
                  <c:v>3</c:v>
                </c:pt>
                <c:pt idx="18">
                  <c:v>-2</c:v>
                </c:pt>
                <c:pt idx="19">
                  <c:v>-4</c:v>
                </c:pt>
                <c:pt idx="20">
                  <c:v>-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6-49FD-46B9-BC8C-F8C0FDB6EC1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22</c:f>
              <c:strCache>
                <c:ptCount val="21"/>
                <c:pt idx="0">
                  <c:v>Hlavní město Praha</c:v>
                </c:pt>
                <c:pt idx="1">
                  <c:v>Liberecký kraj</c:v>
                </c:pt>
                <c:pt idx="2">
                  <c:v>Středočeský kraj</c:v>
                </c:pt>
                <c:pt idx="3">
                  <c:v>Jihočeský kraj</c:v>
                </c:pt>
                <c:pt idx="4">
                  <c:v>Pardubický kraj</c:v>
                </c:pt>
                <c:pt idx="5">
                  <c:v>Karlovarský kraj</c:v>
                </c:pt>
                <c:pt idx="6">
                  <c:v>Olomoucký kraj</c:v>
                </c:pt>
                <c:pt idx="7">
                  <c:v>Plzeňský kraj</c:v>
                </c:pt>
                <c:pt idx="8">
                  <c:v>Královéhradecký kraj</c:v>
                </c:pt>
                <c:pt idx="9">
                  <c:v>Ústecký kraj</c:v>
                </c:pt>
                <c:pt idx="10">
                  <c:v>Zlínský kraj</c:v>
                </c:pt>
                <c:pt idx="11">
                  <c:v>Kraj Vysočina</c:v>
                </c:pt>
                <c:pt idx="12">
                  <c:v>Jihomoravský kraj</c:v>
                </c:pt>
                <c:pt idx="13">
                  <c:v>Moravskoslezský kraj</c:v>
                </c:pt>
                <c:pt idx="15">
                  <c:v>≤ 2000</c:v>
                </c:pt>
                <c:pt idx="16">
                  <c:v>2001 - 5000</c:v>
                </c:pt>
                <c:pt idx="17">
                  <c:v>5001 - 10000</c:v>
                </c:pt>
                <c:pt idx="18">
                  <c:v>10001 - 50000</c:v>
                </c:pt>
                <c:pt idx="19">
                  <c:v>50001 - 100000</c:v>
                </c:pt>
                <c:pt idx="20">
                  <c:v>&gt; 100 000 </c:v>
                </c:pt>
              </c:strCache>
            </c:strRef>
          </c:cat>
          <c:val>
            <c:numRef>
              <c:f>Sheet1!$C$2:$C$22</c:f>
              <c:numCache>
                <c:formatCode>General</c:formatCode>
                <c:ptCount val="21"/>
              </c:numCache>
            </c:numRef>
          </c:val>
          <c:extLst>
            <c:ext xmlns:c16="http://schemas.microsoft.com/office/drawing/2014/chart" uri="{C3380CC4-5D6E-409C-BE32-E72D297353CC}">
              <c16:uniqueId val="{00000027-49FD-46B9-BC8C-F8C0FDB6EC1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22</c:f>
              <c:strCache>
                <c:ptCount val="21"/>
                <c:pt idx="0">
                  <c:v>Hlavní město Praha</c:v>
                </c:pt>
                <c:pt idx="1">
                  <c:v>Liberecký kraj</c:v>
                </c:pt>
                <c:pt idx="2">
                  <c:v>Středočeský kraj</c:v>
                </c:pt>
                <c:pt idx="3">
                  <c:v>Jihočeský kraj</c:v>
                </c:pt>
                <c:pt idx="4">
                  <c:v>Pardubický kraj</c:v>
                </c:pt>
                <c:pt idx="5">
                  <c:v>Karlovarský kraj</c:v>
                </c:pt>
                <c:pt idx="6">
                  <c:v>Olomoucký kraj</c:v>
                </c:pt>
                <c:pt idx="7">
                  <c:v>Plzeňský kraj</c:v>
                </c:pt>
                <c:pt idx="8">
                  <c:v>Královéhradecký kraj</c:v>
                </c:pt>
                <c:pt idx="9">
                  <c:v>Ústecký kraj</c:v>
                </c:pt>
                <c:pt idx="10">
                  <c:v>Zlínský kraj</c:v>
                </c:pt>
                <c:pt idx="11">
                  <c:v>Kraj Vysočina</c:v>
                </c:pt>
                <c:pt idx="12">
                  <c:v>Jihomoravský kraj</c:v>
                </c:pt>
                <c:pt idx="13">
                  <c:v>Moravskoslezský kraj</c:v>
                </c:pt>
                <c:pt idx="15">
                  <c:v>≤ 2000</c:v>
                </c:pt>
                <c:pt idx="16">
                  <c:v>2001 - 5000</c:v>
                </c:pt>
                <c:pt idx="17">
                  <c:v>5001 - 10000</c:v>
                </c:pt>
                <c:pt idx="18">
                  <c:v>10001 - 50000</c:v>
                </c:pt>
                <c:pt idx="19">
                  <c:v>50001 - 100000</c:v>
                </c:pt>
                <c:pt idx="20">
                  <c:v>&gt; 100 000 </c:v>
                </c:pt>
              </c:strCache>
            </c:strRef>
          </c:cat>
          <c:val>
            <c:numRef>
              <c:f>Sheet1!$D$2:$D$22</c:f>
              <c:numCache>
                <c:formatCode>General</c:formatCode>
                <c:ptCount val="21"/>
              </c:numCache>
            </c:numRef>
          </c:val>
          <c:extLst>
            <c:ext xmlns:c16="http://schemas.microsoft.com/office/drawing/2014/chart" uri="{C3380CC4-5D6E-409C-BE32-E72D297353CC}">
              <c16:uniqueId val="{00000028-49FD-46B9-BC8C-F8C0FDB6EC1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411669192"/>
        <c:axId val="411666448"/>
      </c:barChart>
      <c:catAx>
        <c:axId val="41166919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1666448"/>
        <c:crosses val="autoZero"/>
        <c:auto val="1"/>
        <c:lblAlgn val="ctr"/>
        <c:lblOffset val="100"/>
        <c:noMultiLvlLbl val="0"/>
      </c:catAx>
      <c:valAx>
        <c:axId val="411666448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16691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4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0AD-45D5-9A8C-1478DB24B283}"/>
              </c:ext>
            </c:extLst>
          </c:dPt>
          <c:dPt>
            <c:idx val="1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0AD-45D5-9A8C-1478DB24B283}"/>
              </c:ext>
            </c:extLst>
          </c:dPt>
          <c:dPt>
            <c:idx val="2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0AD-45D5-9A8C-1478DB24B283}"/>
              </c:ext>
            </c:extLst>
          </c:dPt>
          <c:dPt>
            <c:idx val="3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60AD-45D5-9A8C-1478DB24B283}"/>
              </c:ext>
            </c:extLst>
          </c:dPt>
          <c:dPt>
            <c:idx val="4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60AD-45D5-9A8C-1478DB24B283}"/>
              </c:ext>
            </c:extLst>
          </c:dPt>
          <c:dPt>
            <c:idx val="5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60AD-45D5-9A8C-1478DB24B283}"/>
              </c:ext>
            </c:extLst>
          </c:dPt>
          <c:dPt>
            <c:idx val="6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60AD-45D5-9A8C-1478DB24B283}"/>
              </c:ext>
            </c:extLst>
          </c:dPt>
          <c:dPt>
            <c:idx val="7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60AD-45D5-9A8C-1478DB24B283}"/>
              </c:ext>
            </c:extLst>
          </c:dPt>
          <c:dPt>
            <c:idx val="8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60AD-45D5-9A8C-1478DB24B283}"/>
              </c:ext>
            </c:extLst>
          </c:dPt>
          <c:dPt>
            <c:idx val="9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60AD-45D5-9A8C-1478DB24B283}"/>
              </c:ext>
            </c:extLst>
          </c:dPt>
          <c:dPt>
            <c:idx val="1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60AD-45D5-9A8C-1478DB24B283}"/>
              </c:ext>
            </c:extLst>
          </c:dPt>
          <c:dPt>
            <c:idx val="11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7-60AD-45D5-9A8C-1478DB24B283}"/>
              </c:ext>
            </c:extLst>
          </c:dPt>
          <c:dPt>
            <c:idx val="12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9-60AD-45D5-9A8C-1478DB24B283}"/>
              </c:ext>
            </c:extLst>
          </c:dPt>
          <c:dPt>
            <c:idx val="13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B-60AD-45D5-9A8C-1478DB24B283}"/>
              </c:ext>
            </c:extLst>
          </c:dPt>
          <c:dPt>
            <c:idx val="15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D-60AD-45D5-9A8C-1478DB24B283}"/>
              </c:ext>
            </c:extLst>
          </c:dPt>
          <c:dPt>
            <c:idx val="16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F-60AD-45D5-9A8C-1478DB24B283}"/>
              </c:ext>
            </c:extLst>
          </c:dPt>
          <c:dPt>
            <c:idx val="17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1-60AD-45D5-9A8C-1478DB24B283}"/>
              </c:ext>
            </c:extLst>
          </c:dPt>
          <c:dPt>
            <c:idx val="18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3-60AD-45D5-9A8C-1478DB24B283}"/>
              </c:ext>
            </c:extLst>
          </c:dPt>
          <c:dPt>
            <c:idx val="19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5-60AD-45D5-9A8C-1478DB24B283}"/>
              </c:ext>
            </c:extLst>
          </c:dPt>
          <c:dPt>
            <c:idx val="20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7-60AD-45D5-9A8C-1478DB24B28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2</c:f>
              <c:strCache>
                <c:ptCount val="21"/>
                <c:pt idx="0">
                  <c:v>Hlavní město Praha</c:v>
                </c:pt>
                <c:pt idx="1">
                  <c:v>Olomoucký kraj</c:v>
                </c:pt>
                <c:pt idx="2">
                  <c:v>Pardubický kraj</c:v>
                </c:pt>
                <c:pt idx="3">
                  <c:v>Jihočeský kraj</c:v>
                </c:pt>
                <c:pt idx="4">
                  <c:v>Karlovarský kraj</c:v>
                </c:pt>
                <c:pt idx="5">
                  <c:v>Liberecký kraj</c:v>
                </c:pt>
                <c:pt idx="6">
                  <c:v>Královéhradecký kraj</c:v>
                </c:pt>
                <c:pt idx="7">
                  <c:v>Plzeňský kraj</c:v>
                </c:pt>
                <c:pt idx="8">
                  <c:v>Středočeský kraj</c:v>
                </c:pt>
                <c:pt idx="9">
                  <c:v>Moravskoslezský kraj</c:v>
                </c:pt>
                <c:pt idx="10">
                  <c:v>Jihomoravský kraj</c:v>
                </c:pt>
                <c:pt idx="11">
                  <c:v>Kraj Vysočina</c:v>
                </c:pt>
                <c:pt idx="12">
                  <c:v>Zlínský kraj</c:v>
                </c:pt>
                <c:pt idx="13">
                  <c:v>Ústecký kraj</c:v>
                </c:pt>
                <c:pt idx="15">
                  <c:v>≤ 2000</c:v>
                </c:pt>
                <c:pt idx="16">
                  <c:v>2001 - 5000</c:v>
                </c:pt>
                <c:pt idx="17">
                  <c:v>5001 - 10000</c:v>
                </c:pt>
                <c:pt idx="18">
                  <c:v>10001 - 50000</c:v>
                </c:pt>
                <c:pt idx="19">
                  <c:v>50001 - 100000</c:v>
                </c:pt>
                <c:pt idx="20">
                  <c:v>&gt; 100 000 </c:v>
                </c:pt>
              </c:strCache>
            </c:strRef>
          </c:cat>
          <c:val>
            <c:numRef>
              <c:f>Sheet1!$B$2:$B$22</c:f>
              <c:numCache>
                <c:formatCode>General</c:formatCode>
                <c:ptCount val="21"/>
                <c:pt idx="0">
                  <c:v>5</c:v>
                </c:pt>
                <c:pt idx="1">
                  <c:v>2</c:v>
                </c:pt>
                <c:pt idx="2">
                  <c:v>1</c:v>
                </c:pt>
                <c:pt idx="3">
                  <c:v>-1</c:v>
                </c:pt>
                <c:pt idx="4">
                  <c:v>-1</c:v>
                </c:pt>
                <c:pt idx="5">
                  <c:v>-1</c:v>
                </c:pt>
                <c:pt idx="6">
                  <c:v>-5</c:v>
                </c:pt>
                <c:pt idx="7">
                  <c:v>-5</c:v>
                </c:pt>
                <c:pt idx="8">
                  <c:v>-8</c:v>
                </c:pt>
                <c:pt idx="9">
                  <c:v>-9</c:v>
                </c:pt>
                <c:pt idx="10">
                  <c:v>-12</c:v>
                </c:pt>
                <c:pt idx="11">
                  <c:v>-12</c:v>
                </c:pt>
                <c:pt idx="12">
                  <c:v>-12</c:v>
                </c:pt>
                <c:pt idx="13">
                  <c:v>-13</c:v>
                </c:pt>
                <c:pt idx="15">
                  <c:v>-39</c:v>
                </c:pt>
                <c:pt idx="16">
                  <c:v>-13</c:v>
                </c:pt>
                <c:pt idx="17">
                  <c:v>-7</c:v>
                </c:pt>
                <c:pt idx="18">
                  <c:v>-9</c:v>
                </c:pt>
                <c:pt idx="19">
                  <c:v>-8</c:v>
                </c:pt>
                <c:pt idx="20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8-60AD-45D5-9A8C-1478DB24B28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22</c:f>
              <c:strCache>
                <c:ptCount val="21"/>
                <c:pt idx="0">
                  <c:v>Hlavní město Praha</c:v>
                </c:pt>
                <c:pt idx="1">
                  <c:v>Olomoucký kraj</c:v>
                </c:pt>
                <c:pt idx="2">
                  <c:v>Pardubický kraj</c:v>
                </c:pt>
                <c:pt idx="3">
                  <c:v>Jihočeský kraj</c:v>
                </c:pt>
                <c:pt idx="4">
                  <c:v>Karlovarský kraj</c:v>
                </c:pt>
                <c:pt idx="5">
                  <c:v>Liberecký kraj</c:v>
                </c:pt>
                <c:pt idx="6">
                  <c:v>Královéhradecký kraj</c:v>
                </c:pt>
                <c:pt idx="7">
                  <c:v>Plzeňský kraj</c:v>
                </c:pt>
                <c:pt idx="8">
                  <c:v>Středočeský kraj</c:v>
                </c:pt>
                <c:pt idx="9">
                  <c:v>Moravskoslezský kraj</c:v>
                </c:pt>
                <c:pt idx="10">
                  <c:v>Jihomoravský kraj</c:v>
                </c:pt>
                <c:pt idx="11">
                  <c:v>Kraj Vysočina</c:v>
                </c:pt>
                <c:pt idx="12">
                  <c:v>Zlínský kraj</c:v>
                </c:pt>
                <c:pt idx="13">
                  <c:v>Ústecký kraj</c:v>
                </c:pt>
                <c:pt idx="15">
                  <c:v>≤ 2000</c:v>
                </c:pt>
                <c:pt idx="16">
                  <c:v>2001 - 5000</c:v>
                </c:pt>
                <c:pt idx="17">
                  <c:v>5001 - 10000</c:v>
                </c:pt>
                <c:pt idx="18">
                  <c:v>10001 - 50000</c:v>
                </c:pt>
                <c:pt idx="19">
                  <c:v>50001 - 100000</c:v>
                </c:pt>
                <c:pt idx="20">
                  <c:v>&gt; 100 000 </c:v>
                </c:pt>
              </c:strCache>
            </c:strRef>
          </c:cat>
          <c:val>
            <c:numRef>
              <c:f>Sheet1!$C$2:$C$22</c:f>
              <c:numCache>
                <c:formatCode>General</c:formatCode>
                <c:ptCount val="21"/>
              </c:numCache>
            </c:numRef>
          </c:val>
          <c:extLst>
            <c:ext xmlns:c16="http://schemas.microsoft.com/office/drawing/2014/chart" uri="{C3380CC4-5D6E-409C-BE32-E72D297353CC}">
              <c16:uniqueId val="{00000029-60AD-45D5-9A8C-1478DB24B28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22</c:f>
              <c:strCache>
                <c:ptCount val="21"/>
                <c:pt idx="0">
                  <c:v>Hlavní město Praha</c:v>
                </c:pt>
                <c:pt idx="1">
                  <c:v>Olomoucký kraj</c:v>
                </c:pt>
                <c:pt idx="2">
                  <c:v>Pardubický kraj</c:v>
                </c:pt>
                <c:pt idx="3">
                  <c:v>Jihočeský kraj</c:v>
                </c:pt>
                <c:pt idx="4">
                  <c:v>Karlovarský kraj</c:v>
                </c:pt>
                <c:pt idx="5">
                  <c:v>Liberecký kraj</c:v>
                </c:pt>
                <c:pt idx="6">
                  <c:v>Královéhradecký kraj</c:v>
                </c:pt>
                <c:pt idx="7">
                  <c:v>Plzeňský kraj</c:v>
                </c:pt>
                <c:pt idx="8">
                  <c:v>Středočeský kraj</c:v>
                </c:pt>
                <c:pt idx="9">
                  <c:v>Moravskoslezský kraj</c:v>
                </c:pt>
                <c:pt idx="10">
                  <c:v>Jihomoravský kraj</c:v>
                </c:pt>
                <c:pt idx="11">
                  <c:v>Kraj Vysočina</c:v>
                </c:pt>
                <c:pt idx="12">
                  <c:v>Zlínský kraj</c:v>
                </c:pt>
                <c:pt idx="13">
                  <c:v>Ústecký kraj</c:v>
                </c:pt>
                <c:pt idx="15">
                  <c:v>≤ 2000</c:v>
                </c:pt>
                <c:pt idx="16">
                  <c:v>2001 - 5000</c:v>
                </c:pt>
                <c:pt idx="17">
                  <c:v>5001 - 10000</c:v>
                </c:pt>
                <c:pt idx="18">
                  <c:v>10001 - 50000</c:v>
                </c:pt>
                <c:pt idx="19">
                  <c:v>50001 - 100000</c:v>
                </c:pt>
                <c:pt idx="20">
                  <c:v>&gt; 100 000 </c:v>
                </c:pt>
              </c:strCache>
            </c:strRef>
          </c:cat>
          <c:val>
            <c:numRef>
              <c:f>Sheet1!$D$2:$D$22</c:f>
              <c:numCache>
                <c:formatCode>General</c:formatCode>
                <c:ptCount val="21"/>
              </c:numCache>
            </c:numRef>
          </c:val>
          <c:extLst>
            <c:ext xmlns:c16="http://schemas.microsoft.com/office/drawing/2014/chart" uri="{C3380CC4-5D6E-409C-BE32-E72D297353CC}">
              <c16:uniqueId val="{0000002A-60AD-45D5-9A8C-1478DB24B28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411669192"/>
        <c:axId val="411666448"/>
      </c:barChart>
      <c:catAx>
        <c:axId val="41166919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1666448"/>
        <c:crosses val="autoZero"/>
        <c:auto val="1"/>
        <c:lblAlgn val="ctr"/>
        <c:lblOffset val="100"/>
        <c:noMultiLvlLbl val="0"/>
      </c:catAx>
      <c:valAx>
        <c:axId val="411666448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16691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celkem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</c:spPr>
          <c:invertIfNegative val="0"/>
          <c:dPt>
            <c:idx val="6"/>
            <c:invertIfNegative val="0"/>
            <c:bubble3D val="0"/>
            <c:spPr>
              <a:solidFill>
                <a:srgbClr val="FF993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0D1E-451A-A9DD-77E26A1D775F}"/>
              </c:ext>
            </c:extLst>
          </c:dPt>
          <c:dPt>
            <c:idx val="7"/>
            <c:invertIfNegative val="0"/>
            <c:bubble3D val="0"/>
            <c:spPr>
              <a:solidFill>
                <a:srgbClr val="FF66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0D1E-451A-A9DD-77E26A1D775F}"/>
              </c:ext>
            </c:extLst>
          </c:dPt>
          <c:dPt>
            <c:idx val="8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0D1E-451A-A9DD-77E26A1D775F}"/>
              </c:ext>
            </c:extLst>
          </c:dPt>
          <c:dPt>
            <c:idx val="1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0D1E-451A-A9DD-77E26A1D775F}"/>
              </c:ext>
            </c:extLst>
          </c:dPt>
          <c:dPt>
            <c:idx val="11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0D1E-451A-A9DD-77E26A1D775F}"/>
              </c:ext>
            </c:extLst>
          </c:dPt>
          <c:dPt>
            <c:idx val="12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B-0D1E-451A-A9DD-77E26A1D775F}"/>
              </c:ext>
            </c:extLst>
          </c:dPt>
          <c:dPt>
            <c:idx val="13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D-0D1E-451A-A9DD-77E26A1D775F}"/>
              </c:ext>
            </c:extLst>
          </c:dPt>
          <c:dPt>
            <c:idx val="14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F-0D1E-451A-A9DD-77E26A1D775F}"/>
              </c:ext>
            </c:extLst>
          </c:dPt>
          <c:cat>
            <c:strRef>
              <c:f>List1!$A$2:$A$10</c:f>
              <c:strCache>
                <c:ptCount val="9"/>
                <c:pt idx="0">
                  <c:v>do 34</c:v>
                </c:pt>
                <c:pt idx="1">
                  <c:v>35-39</c:v>
                </c:pt>
                <c:pt idx="2">
                  <c:v>40-44</c:v>
                </c:pt>
                <c:pt idx="3">
                  <c:v>45-49</c:v>
                </c:pt>
                <c:pt idx="4">
                  <c:v>50-54</c:v>
                </c:pt>
                <c:pt idx="5">
                  <c:v>55-59</c:v>
                </c:pt>
                <c:pt idx="6">
                  <c:v>60-64</c:v>
                </c:pt>
                <c:pt idx="7">
                  <c:v>65-69</c:v>
                </c:pt>
                <c:pt idx="8">
                  <c:v>70 a více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125</c:v>
                </c:pt>
                <c:pt idx="1">
                  <c:v>171</c:v>
                </c:pt>
                <c:pt idx="2">
                  <c:v>187</c:v>
                </c:pt>
                <c:pt idx="3">
                  <c:v>154</c:v>
                </c:pt>
                <c:pt idx="4">
                  <c:v>219</c:v>
                </c:pt>
                <c:pt idx="5">
                  <c:v>205</c:v>
                </c:pt>
                <c:pt idx="6">
                  <c:v>292</c:v>
                </c:pt>
                <c:pt idx="7">
                  <c:v>335</c:v>
                </c:pt>
                <c:pt idx="8">
                  <c:v>3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0D1E-451A-A9DD-77E26A1D77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axId val="46452096"/>
        <c:axId val="46471040"/>
      </c:barChart>
      <c:catAx>
        <c:axId val="4645209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txPr>
          <a:bodyPr rot="-2700000"/>
          <a:lstStyle/>
          <a:p>
            <a:pPr>
              <a:defRPr/>
            </a:pPr>
            <a:endParaRPr lang="cs-CZ"/>
          </a:p>
        </c:txPr>
        <c:crossAx val="46471040"/>
        <c:crosses val="autoZero"/>
        <c:auto val="1"/>
        <c:lblAlgn val="ctr"/>
        <c:lblOffset val="100"/>
        <c:tickLblSkip val="1"/>
        <c:noMultiLvlLbl val="0"/>
      </c:catAx>
      <c:valAx>
        <c:axId val="46471040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4645209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cs-CZ"/>
    </a:p>
  </c:txPr>
  <c:externalData r:id="rId2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8E4-44E0-B4A3-F3B9C44E7925}"/>
              </c:ext>
            </c:extLst>
          </c:dPt>
          <c:dPt>
            <c:idx val="1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8E4-44E0-B4A3-F3B9C44E7925}"/>
              </c:ext>
            </c:extLst>
          </c:dPt>
          <c:dPt>
            <c:idx val="2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8E4-44E0-B4A3-F3B9C44E7925}"/>
              </c:ext>
            </c:extLst>
          </c:dPt>
          <c:dPt>
            <c:idx val="3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C8E4-44E0-B4A3-F3B9C44E7925}"/>
              </c:ext>
            </c:extLst>
          </c:dPt>
          <c:dPt>
            <c:idx val="4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C8E4-44E0-B4A3-F3B9C44E7925}"/>
              </c:ext>
            </c:extLst>
          </c:dPt>
          <c:dPt>
            <c:idx val="5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C8E4-44E0-B4A3-F3B9C44E7925}"/>
              </c:ext>
            </c:extLst>
          </c:dPt>
          <c:dPt>
            <c:idx val="6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C8E4-44E0-B4A3-F3B9C44E7925}"/>
              </c:ext>
            </c:extLst>
          </c:dPt>
          <c:dPt>
            <c:idx val="7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C8E4-44E0-B4A3-F3B9C44E7925}"/>
              </c:ext>
            </c:extLst>
          </c:dPt>
          <c:dPt>
            <c:idx val="8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C8E4-44E0-B4A3-F3B9C44E7925}"/>
              </c:ext>
            </c:extLst>
          </c:dPt>
          <c:dPt>
            <c:idx val="9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C8E4-44E0-B4A3-F3B9C44E7925}"/>
              </c:ext>
            </c:extLst>
          </c:dPt>
          <c:dPt>
            <c:idx val="1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C8E4-44E0-B4A3-F3B9C44E7925}"/>
              </c:ext>
            </c:extLst>
          </c:dPt>
          <c:dPt>
            <c:idx val="11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7-C8E4-44E0-B4A3-F3B9C44E7925}"/>
              </c:ext>
            </c:extLst>
          </c:dPt>
          <c:dPt>
            <c:idx val="12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9-C8E4-44E0-B4A3-F3B9C44E7925}"/>
              </c:ext>
            </c:extLst>
          </c:dPt>
          <c:dPt>
            <c:idx val="13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B-C8E4-44E0-B4A3-F3B9C44E7925}"/>
              </c:ext>
            </c:extLst>
          </c:dPt>
          <c:dPt>
            <c:idx val="15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D-C8E4-44E0-B4A3-F3B9C44E7925}"/>
              </c:ext>
            </c:extLst>
          </c:dPt>
          <c:dPt>
            <c:idx val="16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F-C8E4-44E0-B4A3-F3B9C44E7925}"/>
              </c:ext>
            </c:extLst>
          </c:dPt>
          <c:dPt>
            <c:idx val="17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1-C8E4-44E0-B4A3-F3B9C44E7925}"/>
              </c:ext>
            </c:extLst>
          </c:dPt>
          <c:dPt>
            <c:idx val="18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3-C8E4-44E0-B4A3-F3B9C44E7925}"/>
              </c:ext>
            </c:extLst>
          </c:dPt>
          <c:dPt>
            <c:idx val="19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5-C8E4-44E0-B4A3-F3B9C44E7925}"/>
              </c:ext>
            </c:extLst>
          </c:dPt>
          <c:dPt>
            <c:idx val="2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7-C8E4-44E0-B4A3-F3B9C44E792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2</c:f>
              <c:strCache>
                <c:ptCount val="21"/>
                <c:pt idx="0">
                  <c:v>Hlavní město Praha</c:v>
                </c:pt>
                <c:pt idx="1">
                  <c:v>Liberecký kraj</c:v>
                </c:pt>
                <c:pt idx="2">
                  <c:v>Plzeňský kraj</c:v>
                </c:pt>
                <c:pt idx="3">
                  <c:v>Královéhradecký kraj</c:v>
                </c:pt>
                <c:pt idx="4">
                  <c:v>Pardubický kraj</c:v>
                </c:pt>
                <c:pt idx="5">
                  <c:v>Kraj Vysočina</c:v>
                </c:pt>
                <c:pt idx="6">
                  <c:v>Olomoucký kraj</c:v>
                </c:pt>
                <c:pt idx="7">
                  <c:v>Karlovarský kraj</c:v>
                </c:pt>
                <c:pt idx="8">
                  <c:v>Zlínský kraj</c:v>
                </c:pt>
                <c:pt idx="9">
                  <c:v>Jihočeský kraj</c:v>
                </c:pt>
                <c:pt idx="10">
                  <c:v>Středočeský kraj</c:v>
                </c:pt>
                <c:pt idx="11">
                  <c:v>Jihomoravský kraj</c:v>
                </c:pt>
                <c:pt idx="12">
                  <c:v>Ústecký kraj</c:v>
                </c:pt>
                <c:pt idx="13">
                  <c:v>Moravskoslezský kraj</c:v>
                </c:pt>
                <c:pt idx="15">
                  <c:v>≤ 2000</c:v>
                </c:pt>
                <c:pt idx="16">
                  <c:v>2001 - 5000</c:v>
                </c:pt>
                <c:pt idx="17">
                  <c:v>5001 - 10000</c:v>
                </c:pt>
                <c:pt idx="18">
                  <c:v>10001 - 50000</c:v>
                </c:pt>
                <c:pt idx="19">
                  <c:v>50001 - 100000</c:v>
                </c:pt>
                <c:pt idx="20">
                  <c:v>&gt; 100 000 </c:v>
                </c:pt>
              </c:strCache>
            </c:strRef>
          </c:cat>
          <c:val>
            <c:numRef>
              <c:f>Sheet1!$B$2:$B$22</c:f>
              <c:numCache>
                <c:formatCode>General</c:formatCode>
                <c:ptCount val="21"/>
                <c:pt idx="0">
                  <c:v>21</c:v>
                </c:pt>
                <c:pt idx="1">
                  <c:v>4</c:v>
                </c:pt>
                <c:pt idx="2">
                  <c:v>-2</c:v>
                </c:pt>
                <c:pt idx="3">
                  <c:v>-9</c:v>
                </c:pt>
                <c:pt idx="4">
                  <c:v>-9</c:v>
                </c:pt>
                <c:pt idx="5">
                  <c:v>-14</c:v>
                </c:pt>
                <c:pt idx="6">
                  <c:v>-16</c:v>
                </c:pt>
                <c:pt idx="7">
                  <c:v>-18</c:v>
                </c:pt>
                <c:pt idx="8">
                  <c:v>-19</c:v>
                </c:pt>
                <c:pt idx="9">
                  <c:v>-27</c:v>
                </c:pt>
                <c:pt idx="10">
                  <c:v>-34</c:v>
                </c:pt>
                <c:pt idx="11">
                  <c:v>-43</c:v>
                </c:pt>
                <c:pt idx="12">
                  <c:v>-46</c:v>
                </c:pt>
                <c:pt idx="13">
                  <c:v>-47</c:v>
                </c:pt>
                <c:pt idx="15">
                  <c:v>-137</c:v>
                </c:pt>
                <c:pt idx="16">
                  <c:v>-36</c:v>
                </c:pt>
                <c:pt idx="17">
                  <c:v>-8</c:v>
                </c:pt>
                <c:pt idx="18">
                  <c:v>-54</c:v>
                </c:pt>
                <c:pt idx="19">
                  <c:v>-21</c:v>
                </c:pt>
                <c:pt idx="20">
                  <c:v>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8-C8E4-44E0-B4A3-F3B9C44E792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22</c:f>
              <c:strCache>
                <c:ptCount val="21"/>
                <c:pt idx="0">
                  <c:v>Hlavní město Praha</c:v>
                </c:pt>
                <c:pt idx="1">
                  <c:v>Liberecký kraj</c:v>
                </c:pt>
                <c:pt idx="2">
                  <c:v>Plzeňský kraj</c:v>
                </c:pt>
                <c:pt idx="3">
                  <c:v>Královéhradecký kraj</c:v>
                </c:pt>
                <c:pt idx="4">
                  <c:v>Pardubický kraj</c:v>
                </c:pt>
                <c:pt idx="5">
                  <c:v>Kraj Vysočina</c:v>
                </c:pt>
                <c:pt idx="6">
                  <c:v>Olomoucký kraj</c:v>
                </c:pt>
                <c:pt idx="7">
                  <c:v>Karlovarský kraj</c:v>
                </c:pt>
                <c:pt idx="8">
                  <c:v>Zlínský kraj</c:v>
                </c:pt>
                <c:pt idx="9">
                  <c:v>Jihočeský kraj</c:v>
                </c:pt>
                <c:pt idx="10">
                  <c:v>Středočeský kraj</c:v>
                </c:pt>
                <c:pt idx="11">
                  <c:v>Jihomoravský kraj</c:v>
                </c:pt>
                <c:pt idx="12">
                  <c:v>Ústecký kraj</c:v>
                </c:pt>
                <c:pt idx="13">
                  <c:v>Moravskoslezský kraj</c:v>
                </c:pt>
                <c:pt idx="15">
                  <c:v>≤ 2000</c:v>
                </c:pt>
                <c:pt idx="16">
                  <c:v>2001 - 5000</c:v>
                </c:pt>
                <c:pt idx="17">
                  <c:v>5001 - 10000</c:v>
                </c:pt>
                <c:pt idx="18">
                  <c:v>10001 - 50000</c:v>
                </c:pt>
                <c:pt idx="19">
                  <c:v>50001 - 100000</c:v>
                </c:pt>
                <c:pt idx="20">
                  <c:v>&gt; 100 000 </c:v>
                </c:pt>
              </c:strCache>
            </c:strRef>
          </c:cat>
          <c:val>
            <c:numRef>
              <c:f>Sheet1!$C$2:$C$22</c:f>
              <c:numCache>
                <c:formatCode>General</c:formatCode>
                <c:ptCount val="21"/>
              </c:numCache>
            </c:numRef>
          </c:val>
          <c:extLst>
            <c:ext xmlns:c16="http://schemas.microsoft.com/office/drawing/2014/chart" uri="{C3380CC4-5D6E-409C-BE32-E72D297353CC}">
              <c16:uniqueId val="{00000029-C8E4-44E0-B4A3-F3B9C44E792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22</c:f>
              <c:strCache>
                <c:ptCount val="21"/>
                <c:pt idx="0">
                  <c:v>Hlavní město Praha</c:v>
                </c:pt>
                <c:pt idx="1">
                  <c:v>Liberecký kraj</c:v>
                </c:pt>
                <c:pt idx="2">
                  <c:v>Plzeňský kraj</c:v>
                </c:pt>
                <c:pt idx="3">
                  <c:v>Královéhradecký kraj</c:v>
                </c:pt>
                <c:pt idx="4">
                  <c:v>Pardubický kraj</c:v>
                </c:pt>
                <c:pt idx="5">
                  <c:v>Kraj Vysočina</c:v>
                </c:pt>
                <c:pt idx="6">
                  <c:v>Olomoucký kraj</c:v>
                </c:pt>
                <c:pt idx="7">
                  <c:v>Karlovarský kraj</c:v>
                </c:pt>
                <c:pt idx="8">
                  <c:v>Zlínský kraj</c:v>
                </c:pt>
                <c:pt idx="9">
                  <c:v>Jihočeský kraj</c:v>
                </c:pt>
                <c:pt idx="10">
                  <c:v>Středočeský kraj</c:v>
                </c:pt>
                <c:pt idx="11">
                  <c:v>Jihomoravský kraj</c:v>
                </c:pt>
                <c:pt idx="12">
                  <c:v>Ústecký kraj</c:v>
                </c:pt>
                <c:pt idx="13">
                  <c:v>Moravskoslezský kraj</c:v>
                </c:pt>
                <c:pt idx="15">
                  <c:v>≤ 2000</c:v>
                </c:pt>
                <c:pt idx="16">
                  <c:v>2001 - 5000</c:v>
                </c:pt>
                <c:pt idx="17">
                  <c:v>5001 - 10000</c:v>
                </c:pt>
                <c:pt idx="18">
                  <c:v>10001 - 50000</c:v>
                </c:pt>
                <c:pt idx="19">
                  <c:v>50001 - 100000</c:v>
                </c:pt>
                <c:pt idx="20">
                  <c:v>&gt; 100 000 </c:v>
                </c:pt>
              </c:strCache>
            </c:strRef>
          </c:cat>
          <c:val>
            <c:numRef>
              <c:f>Sheet1!$D$2:$D$22</c:f>
              <c:numCache>
                <c:formatCode>General</c:formatCode>
                <c:ptCount val="21"/>
              </c:numCache>
            </c:numRef>
          </c:val>
          <c:extLst>
            <c:ext xmlns:c16="http://schemas.microsoft.com/office/drawing/2014/chart" uri="{C3380CC4-5D6E-409C-BE32-E72D297353CC}">
              <c16:uniqueId val="{0000002A-C8E4-44E0-B4A3-F3B9C44E792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411669192"/>
        <c:axId val="411666448"/>
      </c:barChart>
      <c:catAx>
        <c:axId val="41166919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1666448"/>
        <c:crosses val="autoZero"/>
        <c:auto val="1"/>
        <c:lblAlgn val="ctr"/>
        <c:lblOffset val="100"/>
        <c:noMultiLvlLbl val="0"/>
      </c:catAx>
      <c:valAx>
        <c:axId val="411666448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16691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4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1 muž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</c:spPr>
          <c:invertIfNegative val="0"/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62C1-4889-B285-C6D8EE0D5CE9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62C1-4889-B285-C6D8EE0D5CE9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62C1-4889-B285-C6D8EE0D5CE9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62C1-4889-B285-C6D8EE0D5CE9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62C1-4889-B285-C6D8EE0D5CE9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62C1-4889-B285-C6D8EE0D5CE9}"/>
              </c:ext>
            </c:extLst>
          </c:dPt>
          <c:dPt>
            <c:idx val="1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62C1-4889-B285-C6D8EE0D5CE9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62C1-4889-B285-C6D8EE0D5CE9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600" b="0">
                    <a:solidFill>
                      <a:schemeClr val="bg1"/>
                    </a:solidFill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B$1:$AM$1</c:f>
              <c:strCache>
                <c:ptCount val="38"/>
                <c:pt idx="0">
                  <c:v>27</c:v>
                </c:pt>
                <c:pt idx="1">
                  <c:v>28</c:v>
                </c:pt>
                <c:pt idx="2">
                  <c:v>29</c:v>
                </c:pt>
                <c:pt idx="3">
                  <c:v>30</c:v>
                </c:pt>
                <c:pt idx="4">
                  <c:v>31</c:v>
                </c:pt>
                <c:pt idx="5">
                  <c:v>32</c:v>
                </c:pt>
                <c:pt idx="6">
                  <c:v>33</c:v>
                </c:pt>
                <c:pt idx="7">
                  <c:v>34</c:v>
                </c:pt>
                <c:pt idx="8">
                  <c:v>35</c:v>
                </c:pt>
                <c:pt idx="9">
                  <c:v>36</c:v>
                </c:pt>
                <c:pt idx="10">
                  <c:v>37</c:v>
                </c:pt>
                <c:pt idx="11">
                  <c:v>38</c:v>
                </c:pt>
                <c:pt idx="12">
                  <c:v>39</c:v>
                </c:pt>
                <c:pt idx="13">
                  <c:v>40</c:v>
                </c:pt>
                <c:pt idx="14">
                  <c:v>41</c:v>
                </c:pt>
                <c:pt idx="15">
                  <c:v>42</c:v>
                </c:pt>
                <c:pt idx="16">
                  <c:v>43</c:v>
                </c:pt>
                <c:pt idx="17">
                  <c:v>44</c:v>
                </c:pt>
                <c:pt idx="18">
                  <c:v>45</c:v>
                </c:pt>
                <c:pt idx="19">
                  <c:v>46</c:v>
                </c:pt>
                <c:pt idx="20">
                  <c:v>47</c:v>
                </c:pt>
                <c:pt idx="21">
                  <c:v>48</c:v>
                </c:pt>
                <c:pt idx="22">
                  <c:v>49</c:v>
                </c:pt>
                <c:pt idx="23">
                  <c:v>50</c:v>
                </c:pt>
                <c:pt idx="24">
                  <c:v>51</c:v>
                </c:pt>
                <c:pt idx="25">
                  <c:v>52</c:v>
                </c:pt>
                <c:pt idx="26">
                  <c:v>53</c:v>
                </c:pt>
                <c:pt idx="27">
                  <c:v>54</c:v>
                </c:pt>
                <c:pt idx="28">
                  <c:v>55</c:v>
                </c:pt>
                <c:pt idx="29">
                  <c:v>57</c:v>
                </c:pt>
                <c:pt idx="30">
                  <c:v>58</c:v>
                </c:pt>
                <c:pt idx="31">
                  <c:v>59</c:v>
                </c:pt>
                <c:pt idx="32">
                  <c:v>60</c:v>
                </c:pt>
                <c:pt idx="33">
                  <c:v>61</c:v>
                </c:pt>
                <c:pt idx="34">
                  <c:v>64</c:v>
                </c:pt>
                <c:pt idx="35">
                  <c:v>66</c:v>
                </c:pt>
                <c:pt idx="36">
                  <c:v>67</c:v>
                </c:pt>
                <c:pt idx="37">
                  <c:v>68</c:v>
                </c:pt>
              </c:strCache>
            </c:strRef>
          </c:cat>
          <c:val>
            <c:numRef>
              <c:f>List1!$B$2:$AM$2</c:f>
              <c:numCache>
                <c:formatCode>General</c:formatCode>
                <c:ptCount val="38"/>
                <c:pt idx="0">
                  <c:v>1</c:v>
                </c:pt>
                <c:pt idx="1">
                  <c:v>17</c:v>
                </c:pt>
                <c:pt idx="2">
                  <c:v>55</c:v>
                </c:pt>
                <c:pt idx="3">
                  <c:v>34</c:v>
                </c:pt>
                <c:pt idx="4">
                  <c:v>44</c:v>
                </c:pt>
                <c:pt idx="5">
                  <c:v>23</c:v>
                </c:pt>
                <c:pt idx="6">
                  <c:v>15</c:v>
                </c:pt>
                <c:pt idx="7">
                  <c:v>10</c:v>
                </c:pt>
                <c:pt idx="8">
                  <c:v>10</c:v>
                </c:pt>
                <c:pt idx="9">
                  <c:v>17</c:v>
                </c:pt>
                <c:pt idx="10">
                  <c:v>12</c:v>
                </c:pt>
                <c:pt idx="11">
                  <c:v>13</c:v>
                </c:pt>
                <c:pt idx="12">
                  <c:v>11</c:v>
                </c:pt>
                <c:pt idx="13">
                  <c:v>13</c:v>
                </c:pt>
                <c:pt idx="14">
                  <c:v>10</c:v>
                </c:pt>
                <c:pt idx="15">
                  <c:v>8</c:v>
                </c:pt>
                <c:pt idx="16">
                  <c:v>7</c:v>
                </c:pt>
                <c:pt idx="17">
                  <c:v>7</c:v>
                </c:pt>
                <c:pt idx="18">
                  <c:v>7</c:v>
                </c:pt>
                <c:pt idx="19">
                  <c:v>8</c:v>
                </c:pt>
                <c:pt idx="20">
                  <c:v>7</c:v>
                </c:pt>
                <c:pt idx="21">
                  <c:v>7</c:v>
                </c:pt>
                <c:pt idx="22">
                  <c:v>2</c:v>
                </c:pt>
                <c:pt idx="23">
                  <c:v>12</c:v>
                </c:pt>
                <c:pt idx="24">
                  <c:v>2</c:v>
                </c:pt>
                <c:pt idx="25">
                  <c:v>6</c:v>
                </c:pt>
                <c:pt idx="26">
                  <c:v>6</c:v>
                </c:pt>
                <c:pt idx="28">
                  <c:v>1</c:v>
                </c:pt>
                <c:pt idx="29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2C1-4889-B285-C6D8EE0D5CE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2 žena</c:v>
                </c:pt>
              </c:strCache>
            </c:strRef>
          </c:tx>
          <c:spPr>
            <a:solidFill>
              <a:srgbClr val="FF99F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600">
                    <a:solidFill>
                      <a:schemeClr val="tx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B$1:$AM$1</c:f>
              <c:strCache>
                <c:ptCount val="38"/>
                <c:pt idx="0">
                  <c:v>27</c:v>
                </c:pt>
                <c:pt idx="1">
                  <c:v>28</c:v>
                </c:pt>
                <c:pt idx="2">
                  <c:v>29</c:v>
                </c:pt>
                <c:pt idx="3">
                  <c:v>30</c:v>
                </c:pt>
                <c:pt idx="4">
                  <c:v>31</c:v>
                </c:pt>
                <c:pt idx="5">
                  <c:v>32</c:v>
                </c:pt>
                <c:pt idx="6">
                  <c:v>33</c:v>
                </c:pt>
                <c:pt idx="7">
                  <c:v>34</c:v>
                </c:pt>
                <c:pt idx="8">
                  <c:v>35</c:v>
                </c:pt>
                <c:pt idx="9">
                  <c:v>36</c:v>
                </c:pt>
                <c:pt idx="10">
                  <c:v>37</c:v>
                </c:pt>
                <c:pt idx="11">
                  <c:v>38</c:v>
                </c:pt>
                <c:pt idx="12">
                  <c:v>39</c:v>
                </c:pt>
                <c:pt idx="13">
                  <c:v>40</c:v>
                </c:pt>
                <c:pt idx="14">
                  <c:v>41</c:v>
                </c:pt>
                <c:pt idx="15">
                  <c:v>42</c:v>
                </c:pt>
                <c:pt idx="16">
                  <c:v>43</c:v>
                </c:pt>
                <c:pt idx="17">
                  <c:v>44</c:v>
                </c:pt>
                <c:pt idx="18">
                  <c:v>45</c:v>
                </c:pt>
                <c:pt idx="19">
                  <c:v>46</c:v>
                </c:pt>
                <c:pt idx="20">
                  <c:v>47</c:v>
                </c:pt>
                <c:pt idx="21">
                  <c:v>48</c:v>
                </c:pt>
                <c:pt idx="22">
                  <c:v>49</c:v>
                </c:pt>
                <c:pt idx="23">
                  <c:v>50</c:v>
                </c:pt>
                <c:pt idx="24">
                  <c:v>51</c:v>
                </c:pt>
                <c:pt idx="25">
                  <c:v>52</c:v>
                </c:pt>
                <c:pt idx="26">
                  <c:v>53</c:v>
                </c:pt>
                <c:pt idx="27">
                  <c:v>54</c:v>
                </c:pt>
                <c:pt idx="28">
                  <c:v>55</c:v>
                </c:pt>
                <c:pt idx="29">
                  <c:v>57</c:v>
                </c:pt>
                <c:pt idx="30">
                  <c:v>58</c:v>
                </c:pt>
                <c:pt idx="31">
                  <c:v>59</c:v>
                </c:pt>
                <c:pt idx="32">
                  <c:v>60</c:v>
                </c:pt>
                <c:pt idx="33">
                  <c:v>61</c:v>
                </c:pt>
                <c:pt idx="34">
                  <c:v>64</c:v>
                </c:pt>
                <c:pt idx="35">
                  <c:v>66</c:v>
                </c:pt>
                <c:pt idx="36">
                  <c:v>67</c:v>
                </c:pt>
                <c:pt idx="37">
                  <c:v>68</c:v>
                </c:pt>
              </c:strCache>
            </c:strRef>
          </c:cat>
          <c:val>
            <c:numRef>
              <c:f>List1!$B$3:$AM$3</c:f>
              <c:numCache>
                <c:formatCode>General</c:formatCode>
                <c:ptCount val="38"/>
                <c:pt idx="1">
                  <c:v>58</c:v>
                </c:pt>
                <c:pt idx="2">
                  <c:v>108</c:v>
                </c:pt>
                <c:pt idx="3">
                  <c:v>106</c:v>
                </c:pt>
                <c:pt idx="4">
                  <c:v>85</c:v>
                </c:pt>
                <c:pt idx="5">
                  <c:v>65</c:v>
                </c:pt>
                <c:pt idx="6">
                  <c:v>68</c:v>
                </c:pt>
                <c:pt idx="7">
                  <c:v>45</c:v>
                </c:pt>
                <c:pt idx="8">
                  <c:v>49</c:v>
                </c:pt>
                <c:pt idx="9">
                  <c:v>58</c:v>
                </c:pt>
                <c:pt idx="10">
                  <c:v>38</c:v>
                </c:pt>
                <c:pt idx="11">
                  <c:v>35</c:v>
                </c:pt>
                <c:pt idx="12">
                  <c:v>31</c:v>
                </c:pt>
                <c:pt idx="13">
                  <c:v>23</c:v>
                </c:pt>
                <c:pt idx="14">
                  <c:v>19</c:v>
                </c:pt>
                <c:pt idx="15">
                  <c:v>16</c:v>
                </c:pt>
                <c:pt idx="16">
                  <c:v>13</c:v>
                </c:pt>
                <c:pt idx="17">
                  <c:v>19</c:v>
                </c:pt>
                <c:pt idx="18">
                  <c:v>17</c:v>
                </c:pt>
                <c:pt idx="19">
                  <c:v>9</c:v>
                </c:pt>
                <c:pt idx="20">
                  <c:v>11</c:v>
                </c:pt>
                <c:pt idx="21">
                  <c:v>13</c:v>
                </c:pt>
                <c:pt idx="22">
                  <c:v>10</c:v>
                </c:pt>
                <c:pt idx="23">
                  <c:v>9</c:v>
                </c:pt>
                <c:pt idx="24">
                  <c:v>4</c:v>
                </c:pt>
                <c:pt idx="25">
                  <c:v>6</c:v>
                </c:pt>
                <c:pt idx="26">
                  <c:v>5</c:v>
                </c:pt>
                <c:pt idx="27">
                  <c:v>2</c:v>
                </c:pt>
                <c:pt idx="28">
                  <c:v>5</c:v>
                </c:pt>
                <c:pt idx="30">
                  <c:v>3</c:v>
                </c:pt>
                <c:pt idx="31">
                  <c:v>2</c:v>
                </c:pt>
                <c:pt idx="3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62C1-4889-B285-C6D8EE0D5C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36528128"/>
        <c:axId val="36529664"/>
      </c:barChart>
      <c:catAx>
        <c:axId val="3652812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txPr>
          <a:bodyPr rot="-2700000"/>
          <a:lstStyle/>
          <a:p>
            <a:pPr>
              <a:defRPr sz="1050" b="0"/>
            </a:pPr>
            <a:endParaRPr lang="cs-CZ"/>
          </a:p>
        </c:txPr>
        <c:crossAx val="36529664"/>
        <c:crosses val="autoZero"/>
        <c:auto val="1"/>
        <c:lblAlgn val="ctr"/>
        <c:lblOffset val="100"/>
        <c:noMultiLvlLbl val="0"/>
      </c:catAx>
      <c:valAx>
        <c:axId val="36529664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txPr>
          <a:bodyPr/>
          <a:lstStyle/>
          <a:p>
            <a:pPr>
              <a:defRPr b="1"/>
            </a:pPr>
            <a:endParaRPr lang="cs-CZ"/>
          </a:p>
        </c:txPr>
        <c:crossAx val="3652812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cs-CZ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muži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 sz="1100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List1!$B$1:$N$1</c:f>
              <c:numCache>
                <c:formatCode>General</c:formatCode>
                <c:ptCount val="13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</c:numCache>
            </c:numRef>
          </c:cat>
          <c:val>
            <c:numRef>
              <c:f>List1!$B$2:$N$2</c:f>
              <c:numCache>
                <c:formatCode>0.0</c:formatCode>
                <c:ptCount val="13"/>
                <c:pt idx="0">
                  <c:v>28.289473684210524</c:v>
                </c:pt>
                <c:pt idx="1">
                  <c:v>23.664122137404579</c:v>
                </c:pt>
                <c:pt idx="2">
                  <c:v>27.835051546391753</c:v>
                </c:pt>
                <c:pt idx="3">
                  <c:v>30.476190476190478</c:v>
                </c:pt>
                <c:pt idx="4">
                  <c:v>27.439024390243905</c:v>
                </c:pt>
                <c:pt idx="5">
                  <c:v>31.182795698924732</c:v>
                </c:pt>
                <c:pt idx="6">
                  <c:v>30.256410256410255</c:v>
                </c:pt>
                <c:pt idx="7">
                  <c:v>25.568181818181817</c:v>
                </c:pt>
                <c:pt idx="8">
                  <c:v>22.033898305084744</c:v>
                </c:pt>
                <c:pt idx="9">
                  <c:v>31.382978723404253</c:v>
                </c:pt>
                <c:pt idx="10">
                  <c:v>36.423841059602644</c:v>
                </c:pt>
                <c:pt idx="11">
                  <c:v>32.544378698224854</c:v>
                </c:pt>
                <c:pt idx="12">
                  <c:v>25.6578947368421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5BB-4BF4-B5CD-FE49227B028A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ženy</c:v>
                </c:pt>
              </c:strCache>
            </c:strRef>
          </c:tx>
          <c:spPr>
            <a:solidFill>
              <a:srgbClr val="FF99FF"/>
            </a:solidFill>
            <a:ln>
              <a:noFill/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 rot="-5400000"/>
              <a:lstStyle/>
              <a:p>
                <a:pPr>
                  <a:defRPr sz="1100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List1!$B$1:$N$1</c:f>
              <c:numCache>
                <c:formatCode>General</c:formatCode>
                <c:ptCount val="13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</c:numCache>
            </c:numRef>
          </c:cat>
          <c:val>
            <c:numRef>
              <c:f>List1!$B$3:$N$3</c:f>
              <c:numCache>
                <c:formatCode>0.0</c:formatCode>
                <c:ptCount val="13"/>
                <c:pt idx="0">
                  <c:v>71.710526315789465</c:v>
                </c:pt>
                <c:pt idx="1">
                  <c:v>76.335877862595424</c:v>
                </c:pt>
                <c:pt idx="2">
                  <c:v>72.164948453608247</c:v>
                </c:pt>
                <c:pt idx="3">
                  <c:v>69.523809523809518</c:v>
                </c:pt>
                <c:pt idx="4">
                  <c:v>72.560975609756099</c:v>
                </c:pt>
                <c:pt idx="5">
                  <c:v>68.817204301075279</c:v>
                </c:pt>
                <c:pt idx="6">
                  <c:v>69.743589743589737</c:v>
                </c:pt>
                <c:pt idx="7">
                  <c:v>74.431818181818173</c:v>
                </c:pt>
                <c:pt idx="8">
                  <c:v>77.966101694915253</c:v>
                </c:pt>
                <c:pt idx="9">
                  <c:v>68.61702127659575</c:v>
                </c:pt>
                <c:pt idx="10">
                  <c:v>63.576158940397356</c:v>
                </c:pt>
                <c:pt idx="11">
                  <c:v>67.455621301775153</c:v>
                </c:pt>
                <c:pt idx="12">
                  <c:v>74.3421052631579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5BB-4BF4-B5CD-FE49227B02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44916096"/>
        <c:axId val="46122112"/>
      </c:barChart>
      <c:catAx>
        <c:axId val="4491609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txPr>
          <a:bodyPr rot="-2700000"/>
          <a:lstStyle/>
          <a:p>
            <a:pPr>
              <a:defRPr/>
            </a:pPr>
            <a:endParaRPr lang="cs-CZ"/>
          </a:p>
        </c:txPr>
        <c:crossAx val="46122112"/>
        <c:crosses val="autoZero"/>
        <c:auto val="1"/>
        <c:lblAlgn val="ctr"/>
        <c:lblOffset val="100"/>
        <c:tickLblSkip val="1"/>
        <c:noMultiLvlLbl val="0"/>
      </c:catAx>
      <c:valAx>
        <c:axId val="46122112"/>
        <c:scaling>
          <c:orientation val="minMax"/>
          <c:max val="10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.0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4491609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cs-CZ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muži</c:v>
                </c:pt>
              </c:strCache>
            </c:strRef>
          </c:tx>
          <c:spPr>
            <a:ln>
              <a:solidFill>
                <a:srgbClr val="00B0F0"/>
              </a:solidFill>
            </a:ln>
          </c:spPr>
          <c:marker>
            <c:symbol val="diamond"/>
            <c:size val="6"/>
            <c:spPr>
              <a:solidFill>
                <a:srgbClr val="00B0F0"/>
              </a:solidFill>
              <a:ln>
                <a:noFill/>
              </a:ln>
            </c:spPr>
          </c:marker>
          <c:dPt>
            <c:idx val="8"/>
            <c:bubble3D val="0"/>
            <c:extLst>
              <c:ext xmlns:c16="http://schemas.microsoft.com/office/drawing/2014/chart" uri="{C3380CC4-5D6E-409C-BE32-E72D297353CC}">
                <c16:uniqueId val="{00000000-0FE2-400F-B611-9CF36E2FB55D}"/>
              </c:ext>
            </c:extLst>
          </c:dPt>
          <c:dPt>
            <c:idx val="9"/>
            <c:bubble3D val="0"/>
            <c:extLst>
              <c:ext xmlns:c16="http://schemas.microsoft.com/office/drawing/2014/chart" uri="{C3380CC4-5D6E-409C-BE32-E72D297353CC}">
                <c16:uniqueId val="{00000001-0FE2-400F-B611-9CF36E2FB55D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2-0FE2-400F-B611-9CF36E2FB55D}"/>
              </c:ext>
            </c:extLst>
          </c:dPt>
          <c:dPt>
            <c:idx val="11"/>
            <c:bubble3D val="0"/>
            <c:extLst>
              <c:ext xmlns:c16="http://schemas.microsoft.com/office/drawing/2014/chart" uri="{C3380CC4-5D6E-409C-BE32-E72D297353CC}">
                <c16:uniqueId val="{00000003-0FE2-400F-B611-9CF36E2FB55D}"/>
              </c:ext>
            </c:extLst>
          </c:dPt>
          <c:dPt>
            <c:idx val="12"/>
            <c:bubble3D val="0"/>
            <c:extLst>
              <c:ext xmlns:c16="http://schemas.microsoft.com/office/drawing/2014/chart" uri="{C3380CC4-5D6E-409C-BE32-E72D297353CC}">
                <c16:uniqueId val="{00000004-0FE2-400F-B611-9CF36E2FB55D}"/>
              </c:ext>
            </c:extLst>
          </c:dPt>
          <c:dPt>
            <c:idx val="14"/>
            <c:bubble3D val="0"/>
            <c:extLst>
              <c:ext xmlns:c16="http://schemas.microsoft.com/office/drawing/2014/chart" uri="{C3380CC4-5D6E-409C-BE32-E72D297353CC}">
                <c16:uniqueId val="{00000005-0FE2-400F-B611-9CF36E2FB55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1200" b="1">
                    <a:solidFill>
                      <a:schemeClr val="tx1"/>
                    </a:solidFill>
                  </a:defRPr>
                </a:pPr>
                <a:endParaRPr lang="cs-CZ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List1!$B$1:$N$1</c:f>
              <c:numCache>
                <c:formatCode>General</c:formatCode>
                <c:ptCount val="13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</c:numCache>
            </c:numRef>
          </c:cat>
          <c:val>
            <c:numRef>
              <c:f>List1!$B$2:$N$2</c:f>
              <c:numCache>
                <c:formatCode>General</c:formatCode>
                <c:ptCount val="13"/>
                <c:pt idx="0">
                  <c:v>43</c:v>
                </c:pt>
                <c:pt idx="1">
                  <c:v>31</c:v>
                </c:pt>
                <c:pt idx="2">
                  <c:v>54</c:v>
                </c:pt>
                <c:pt idx="3">
                  <c:v>64</c:v>
                </c:pt>
                <c:pt idx="4">
                  <c:v>45</c:v>
                </c:pt>
                <c:pt idx="5">
                  <c:v>58</c:v>
                </c:pt>
                <c:pt idx="6">
                  <c:v>59</c:v>
                </c:pt>
                <c:pt idx="7">
                  <c:v>45</c:v>
                </c:pt>
                <c:pt idx="8">
                  <c:v>39</c:v>
                </c:pt>
                <c:pt idx="9">
                  <c:v>59</c:v>
                </c:pt>
                <c:pt idx="10">
                  <c:v>55</c:v>
                </c:pt>
                <c:pt idx="11">
                  <c:v>55</c:v>
                </c:pt>
                <c:pt idx="12">
                  <c:v>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0FE2-400F-B611-9CF36E2FB55D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ženy</c:v>
                </c:pt>
              </c:strCache>
            </c:strRef>
          </c:tx>
          <c:spPr>
            <a:ln>
              <a:solidFill>
                <a:srgbClr val="FF99FF"/>
              </a:solidFill>
            </a:ln>
          </c:spPr>
          <c:marker>
            <c:symbol val="diamond"/>
            <c:size val="6"/>
            <c:spPr>
              <a:solidFill>
                <a:srgbClr val="FF99FF"/>
              </a:solidFill>
              <a:ln>
                <a:noFill/>
              </a:ln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1200" b="1">
                    <a:solidFill>
                      <a:schemeClr val="tx1"/>
                    </a:solidFill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List1!$B$1:$N$1</c:f>
              <c:numCache>
                <c:formatCode>General</c:formatCode>
                <c:ptCount val="13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</c:numCache>
            </c:numRef>
          </c:cat>
          <c:val>
            <c:numRef>
              <c:f>List1!$B$3:$N$3</c:f>
              <c:numCache>
                <c:formatCode>General</c:formatCode>
                <c:ptCount val="13"/>
                <c:pt idx="0">
                  <c:v>109</c:v>
                </c:pt>
                <c:pt idx="1">
                  <c:v>100</c:v>
                </c:pt>
                <c:pt idx="2">
                  <c:v>140</c:v>
                </c:pt>
                <c:pt idx="3">
                  <c:v>146</c:v>
                </c:pt>
                <c:pt idx="4">
                  <c:v>119</c:v>
                </c:pt>
                <c:pt idx="5">
                  <c:v>128</c:v>
                </c:pt>
                <c:pt idx="6">
                  <c:v>136</c:v>
                </c:pt>
                <c:pt idx="7">
                  <c:v>131</c:v>
                </c:pt>
                <c:pt idx="8">
                  <c:v>138</c:v>
                </c:pt>
                <c:pt idx="9">
                  <c:v>129</c:v>
                </c:pt>
                <c:pt idx="10">
                  <c:v>96</c:v>
                </c:pt>
                <c:pt idx="11">
                  <c:v>114</c:v>
                </c:pt>
                <c:pt idx="12">
                  <c:v>1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0FE2-400F-B611-9CF36E2FB5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9871232"/>
        <c:axId val="59879808"/>
      </c:lineChart>
      <c:catAx>
        <c:axId val="5987123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txPr>
          <a:bodyPr rot="-2700000"/>
          <a:lstStyle/>
          <a:p>
            <a:pPr>
              <a:defRPr/>
            </a:pPr>
            <a:endParaRPr lang="cs-CZ"/>
          </a:p>
        </c:txPr>
        <c:crossAx val="59879808"/>
        <c:crosses val="autoZero"/>
        <c:auto val="1"/>
        <c:lblAlgn val="ctr"/>
        <c:lblOffset val="100"/>
        <c:tickLblSkip val="1"/>
        <c:noMultiLvlLbl val="0"/>
      </c:catAx>
      <c:valAx>
        <c:axId val="59879808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5987123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cs-CZ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4695081024824667E-2"/>
          <c:y val="3.4710652534455523E-2"/>
          <c:w val="0.89772678817626628"/>
          <c:h val="0.82659249486116027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Všeobecné praktické lékařství</c:v>
                </c:pt>
              </c:strCache>
            </c:strRef>
          </c:tx>
          <c:spPr>
            <a:ln w="19050" cap="rnd" cmpd="sng" algn="ctr">
              <a:solidFill>
                <a:schemeClr val="accent1"/>
              </a:solidFill>
              <a:prstDash val="solid"/>
              <a:round/>
            </a:ln>
            <a:effectLst/>
          </c:spPr>
          <c:marker>
            <c:symbol val="none"/>
          </c:marker>
          <c:dPt>
            <c:idx val="8"/>
            <c:bubble3D val="0"/>
            <c:extLst>
              <c:ext xmlns:c16="http://schemas.microsoft.com/office/drawing/2014/chart" uri="{C3380CC4-5D6E-409C-BE32-E72D297353CC}">
                <c16:uniqueId val="{00000000-533B-4233-9DEB-CB01927CEA01}"/>
              </c:ext>
            </c:extLst>
          </c:dPt>
          <c:dPt>
            <c:idx val="14"/>
            <c:bubble3D val="0"/>
            <c:extLst>
              <c:ext xmlns:c16="http://schemas.microsoft.com/office/drawing/2014/chart" uri="{C3380CC4-5D6E-409C-BE32-E72D297353CC}">
                <c16:uniqueId val="{00000005-533B-4233-9DEB-CB01927CEA0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List1!$B$1:$J$1</c:f>
              <c:numCache>
                <c:formatCode>General</c:formatCode>
                <c:ptCount val="9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</c:numCache>
            </c:numRef>
          </c:cat>
          <c:val>
            <c:numRef>
              <c:f>List1!$B$2:$J$2</c:f>
              <c:numCache>
                <c:formatCode>General</c:formatCode>
                <c:ptCount val="9"/>
                <c:pt idx="0">
                  <c:v>269</c:v>
                </c:pt>
                <c:pt idx="1">
                  <c:v>289</c:v>
                </c:pt>
                <c:pt idx="2">
                  <c:v>307</c:v>
                </c:pt>
                <c:pt idx="3">
                  <c:v>281</c:v>
                </c:pt>
                <c:pt idx="4">
                  <c:v>319</c:v>
                </c:pt>
                <c:pt idx="5">
                  <c:v>295</c:v>
                </c:pt>
                <c:pt idx="6">
                  <c:v>225</c:v>
                </c:pt>
                <c:pt idx="7">
                  <c:v>226</c:v>
                </c:pt>
                <c:pt idx="8">
                  <c:v>2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533B-4233-9DEB-CB01927CEA01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59871232"/>
        <c:axId val="59879808"/>
      </c:lineChart>
      <c:catAx>
        <c:axId val="5987123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6350" cap="flat" cmpd="sng" algn="ctr">
            <a:solidFill>
              <a:schemeClr val="tx1"/>
            </a:solidFill>
            <a:prstDash val="solid"/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879808"/>
        <c:crosses val="autoZero"/>
        <c:auto val="1"/>
        <c:lblAlgn val="ctr"/>
        <c:lblOffset val="100"/>
        <c:tickLblSkip val="1"/>
        <c:noMultiLvlLbl val="0"/>
      </c:catAx>
      <c:valAx>
        <c:axId val="59879808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tx1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8712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1200"/>
      </a:pPr>
      <a:endParaRPr lang="cs-CZ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4695081024824667E-2"/>
          <c:y val="3.4710652534455523E-2"/>
          <c:w val="0.89772678817626628"/>
          <c:h val="0.82659249486116027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Všeobecné praktické lékařství</c:v>
                </c:pt>
              </c:strCache>
            </c:strRef>
          </c:tx>
          <c:spPr>
            <a:ln w="19050" cap="rnd" cmpd="sng" algn="ctr">
              <a:solidFill>
                <a:schemeClr val="accent1"/>
              </a:solidFill>
              <a:prstDash val="solid"/>
              <a:round/>
            </a:ln>
            <a:effectLst/>
          </c:spPr>
          <c:marker>
            <c:symbol val="none"/>
          </c:marker>
          <c:dPt>
            <c:idx val="8"/>
            <c:bubble3D val="0"/>
            <c:extLst>
              <c:ext xmlns:c16="http://schemas.microsoft.com/office/drawing/2014/chart" uri="{C3380CC4-5D6E-409C-BE32-E72D297353CC}">
                <c16:uniqueId val="{00000000-E202-40B7-831E-EF7C571A8FB0}"/>
              </c:ext>
            </c:extLst>
          </c:dPt>
          <c:dPt>
            <c:idx val="14"/>
            <c:bubble3D val="0"/>
            <c:extLst>
              <c:ext xmlns:c16="http://schemas.microsoft.com/office/drawing/2014/chart" uri="{C3380CC4-5D6E-409C-BE32-E72D297353CC}">
                <c16:uniqueId val="{00000001-E202-40B7-831E-EF7C571A8FB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List1!$B$1:$J$1</c:f>
              <c:numCache>
                <c:formatCode>General</c:formatCode>
                <c:ptCount val="9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</c:numCache>
            </c:numRef>
          </c:cat>
          <c:val>
            <c:numRef>
              <c:f>List1!$B$2:$J$2</c:f>
              <c:numCache>
                <c:formatCode>General</c:formatCode>
                <c:ptCount val="9"/>
                <c:pt idx="0">
                  <c:v>24</c:v>
                </c:pt>
                <c:pt idx="1">
                  <c:v>32</c:v>
                </c:pt>
                <c:pt idx="2">
                  <c:v>29</c:v>
                </c:pt>
                <c:pt idx="3">
                  <c:v>47</c:v>
                </c:pt>
                <c:pt idx="4">
                  <c:v>52</c:v>
                </c:pt>
                <c:pt idx="5">
                  <c:v>42</c:v>
                </c:pt>
                <c:pt idx="6">
                  <c:v>12</c:v>
                </c:pt>
                <c:pt idx="7">
                  <c:v>74</c:v>
                </c:pt>
                <c:pt idx="8">
                  <c:v>1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02-40B7-831E-EF7C571A8FB0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59871232"/>
        <c:axId val="59879808"/>
      </c:lineChart>
      <c:catAx>
        <c:axId val="5987123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6350" cap="flat" cmpd="sng" algn="ctr">
            <a:solidFill>
              <a:schemeClr val="tx1"/>
            </a:solidFill>
            <a:prstDash val="solid"/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879808"/>
        <c:crosses val="autoZero"/>
        <c:auto val="1"/>
        <c:lblAlgn val="ctr"/>
        <c:lblOffset val="100"/>
        <c:tickLblSkip val="1"/>
        <c:noMultiLvlLbl val="0"/>
      </c:catAx>
      <c:valAx>
        <c:axId val="59879808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tx1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8712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1200"/>
      </a:pPr>
      <a:endParaRPr lang="cs-CZ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4695081024824667E-2"/>
          <c:y val="3.4710652534455523E-2"/>
          <c:w val="0.89772678817626628"/>
          <c:h val="0.82659249486116027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Všeobecné praktické lékařství</c:v>
                </c:pt>
              </c:strCache>
            </c:strRef>
          </c:tx>
          <c:spPr>
            <a:ln w="19050" cap="rnd" cmpd="sng" algn="ctr">
              <a:solidFill>
                <a:schemeClr val="accent1"/>
              </a:solidFill>
              <a:prstDash val="solid"/>
              <a:round/>
            </a:ln>
            <a:effectLst/>
          </c:spPr>
          <c:marker>
            <c:symbol val="none"/>
          </c:marker>
          <c:dPt>
            <c:idx val="8"/>
            <c:bubble3D val="0"/>
            <c:extLst>
              <c:ext xmlns:c16="http://schemas.microsoft.com/office/drawing/2014/chart" uri="{C3380CC4-5D6E-409C-BE32-E72D297353CC}">
                <c16:uniqueId val="{00000000-1A5B-4959-8E53-C95FE3E0C594}"/>
              </c:ext>
            </c:extLst>
          </c:dPt>
          <c:dPt>
            <c:idx val="14"/>
            <c:bubble3D val="0"/>
            <c:extLst>
              <c:ext xmlns:c16="http://schemas.microsoft.com/office/drawing/2014/chart" uri="{C3380CC4-5D6E-409C-BE32-E72D297353CC}">
                <c16:uniqueId val="{00000001-1A5B-4959-8E53-C95FE3E0C59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List1!$B$1:$J$1</c:f>
              <c:numCache>
                <c:formatCode>General</c:formatCode>
                <c:ptCount val="9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</c:numCache>
            </c:numRef>
          </c:cat>
          <c:val>
            <c:numRef>
              <c:f>List1!$B$2:$J$2</c:f>
              <c:numCache>
                <c:formatCode>General</c:formatCode>
                <c:ptCount val="9"/>
                <c:pt idx="0">
                  <c:v>171</c:v>
                </c:pt>
                <c:pt idx="1">
                  <c:v>200</c:v>
                </c:pt>
                <c:pt idx="2">
                  <c:v>200</c:v>
                </c:pt>
                <c:pt idx="3">
                  <c:v>190</c:v>
                </c:pt>
                <c:pt idx="4">
                  <c:v>190</c:v>
                </c:pt>
                <c:pt idx="5">
                  <c:v>199</c:v>
                </c:pt>
                <c:pt idx="6">
                  <c:v>161</c:v>
                </c:pt>
                <c:pt idx="7">
                  <c:v>188</c:v>
                </c:pt>
                <c:pt idx="8">
                  <c:v>1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A5B-4959-8E53-C95FE3E0C594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59871232"/>
        <c:axId val="59879808"/>
      </c:lineChart>
      <c:catAx>
        <c:axId val="5987123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6350" cap="flat" cmpd="sng" algn="ctr">
            <a:solidFill>
              <a:schemeClr val="tx1"/>
            </a:solidFill>
            <a:prstDash val="solid"/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879808"/>
        <c:crosses val="autoZero"/>
        <c:auto val="1"/>
        <c:lblAlgn val="ctr"/>
        <c:lblOffset val="100"/>
        <c:tickLblSkip val="1"/>
        <c:noMultiLvlLbl val="0"/>
      </c:catAx>
      <c:valAx>
        <c:axId val="59879808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tx1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8712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1200"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</c:spPr>
          <c:invertIfNegative val="0"/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5F7E-4C0C-AB11-3ED69E9616FF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5F7E-4C0C-AB11-3ED69E9616FF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5F7E-4C0C-AB11-3ED69E9616FF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5F7E-4C0C-AB11-3ED69E9616FF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5F7E-4C0C-AB11-3ED69E9616FF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5F7E-4C0C-AB11-3ED69E9616FF}"/>
              </c:ext>
            </c:extLst>
          </c:dPt>
          <c:dPt>
            <c:idx val="1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5F7E-4C0C-AB11-3ED69E9616FF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5F7E-4C0C-AB11-3ED69E9616F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6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A$2:$A$10</c:f>
              <c:strCache>
                <c:ptCount val="9"/>
                <c:pt idx="0">
                  <c:v>do 34</c:v>
                </c:pt>
                <c:pt idx="1">
                  <c:v>35-39</c:v>
                </c:pt>
                <c:pt idx="2">
                  <c:v>40-44</c:v>
                </c:pt>
                <c:pt idx="3">
                  <c:v>45-49</c:v>
                </c:pt>
                <c:pt idx="4">
                  <c:v>50-54</c:v>
                </c:pt>
                <c:pt idx="5">
                  <c:v>55-59</c:v>
                </c:pt>
                <c:pt idx="6">
                  <c:v>60-64</c:v>
                </c:pt>
                <c:pt idx="7">
                  <c:v>65-69</c:v>
                </c:pt>
                <c:pt idx="8">
                  <c:v>70 a více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16</c:v>
                </c:pt>
                <c:pt idx="1">
                  <c:v>17</c:v>
                </c:pt>
                <c:pt idx="2">
                  <c:v>24</c:v>
                </c:pt>
                <c:pt idx="3">
                  <c:v>21</c:v>
                </c:pt>
                <c:pt idx="4">
                  <c:v>35</c:v>
                </c:pt>
                <c:pt idx="5">
                  <c:v>31</c:v>
                </c:pt>
                <c:pt idx="6">
                  <c:v>49</c:v>
                </c:pt>
                <c:pt idx="7">
                  <c:v>51</c:v>
                </c:pt>
                <c:pt idx="8">
                  <c:v>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F7E-4C0C-AB11-3ED69E9616FF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ž</c:v>
                </c:pt>
              </c:strCache>
            </c:strRef>
          </c:tx>
          <c:spPr>
            <a:solidFill>
              <a:srgbClr val="FF99F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600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A$2:$A$10</c:f>
              <c:strCache>
                <c:ptCount val="9"/>
                <c:pt idx="0">
                  <c:v>do 34</c:v>
                </c:pt>
                <c:pt idx="1">
                  <c:v>35-39</c:v>
                </c:pt>
                <c:pt idx="2">
                  <c:v>40-44</c:v>
                </c:pt>
                <c:pt idx="3">
                  <c:v>45-49</c:v>
                </c:pt>
                <c:pt idx="4">
                  <c:v>50-54</c:v>
                </c:pt>
                <c:pt idx="5">
                  <c:v>55-59</c:v>
                </c:pt>
                <c:pt idx="6">
                  <c:v>60-64</c:v>
                </c:pt>
                <c:pt idx="7">
                  <c:v>65-69</c:v>
                </c:pt>
                <c:pt idx="8">
                  <c:v>70 a více</c:v>
                </c:pt>
              </c:strCache>
            </c:strRef>
          </c:cat>
          <c:val>
            <c:numRef>
              <c:f>List1!$C$2:$C$10</c:f>
              <c:numCache>
                <c:formatCode>General</c:formatCode>
                <c:ptCount val="9"/>
                <c:pt idx="0">
                  <c:v>109</c:v>
                </c:pt>
                <c:pt idx="1">
                  <c:v>154</c:v>
                </c:pt>
                <c:pt idx="2">
                  <c:v>163</c:v>
                </c:pt>
                <c:pt idx="3">
                  <c:v>133</c:v>
                </c:pt>
                <c:pt idx="4">
                  <c:v>184</c:v>
                </c:pt>
                <c:pt idx="5">
                  <c:v>174</c:v>
                </c:pt>
                <c:pt idx="6">
                  <c:v>243</c:v>
                </c:pt>
                <c:pt idx="7">
                  <c:v>284</c:v>
                </c:pt>
                <c:pt idx="8">
                  <c:v>2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5F7E-4C0C-AB11-3ED69E9616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71256704"/>
        <c:axId val="71561984"/>
      </c:barChart>
      <c:catAx>
        <c:axId val="7125670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txPr>
          <a:bodyPr rot="-2700000"/>
          <a:lstStyle/>
          <a:p>
            <a:pPr>
              <a:defRPr/>
            </a:pPr>
            <a:endParaRPr lang="cs-CZ"/>
          </a:p>
        </c:txPr>
        <c:crossAx val="71561984"/>
        <c:crosses val="autoZero"/>
        <c:auto val="1"/>
        <c:lblAlgn val="ctr"/>
        <c:lblOffset val="100"/>
        <c:noMultiLvlLbl val="0"/>
      </c:catAx>
      <c:valAx>
        <c:axId val="71561984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7125670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cs-CZ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E6F-4A87-B32F-5BE755BDC38D}"/>
              </c:ext>
            </c:extLst>
          </c:dPt>
          <c:dPt>
            <c:idx val="1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E6F-4A87-B32F-5BE755BDC38D}"/>
              </c:ext>
            </c:extLst>
          </c:dPt>
          <c:dPt>
            <c:idx val="2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E6F-4A87-B32F-5BE755BDC38D}"/>
              </c:ext>
            </c:extLst>
          </c:dPt>
          <c:dPt>
            <c:idx val="3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E6F-4A87-B32F-5BE755BDC38D}"/>
              </c:ext>
            </c:extLst>
          </c:dPt>
          <c:dPt>
            <c:idx val="4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3E6F-4A87-B32F-5BE755BDC38D}"/>
              </c:ext>
            </c:extLst>
          </c:dPt>
          <c:dPt>
            <c:idx val="5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3E6F-4A87-B32F-5BE755BDC38D}"/>
              </c:ext>
            </c:extLst>
          </c:dPt>
          <c:dPt>
            <c:idx val="6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3E6F-4A87-B32F-5BE755BDC38D}"/>
              </c:ext>
            </c:extLst>
          </c:dPt>
          <c:dPt>
            <c:idx val="7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3E6F-4A87-B32F-5BE755BDC38D}"/>
              </c:ext>
            </c:extLst>
          </c:dPt>
          <c:dPt>
            <c:idx val="8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3E6F-4A87-B32F-5BE755BDC38D}"/>
              </c:ext>
            </c:extLst>
          </c:dPt>
          <c:dPt>
            <c:idx val="9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3E6F-4A87-B32F-5BE755BDC38D}"/>
              </c:ext>
            </c:extLst>
          </c:dPt>
          <c:dPt>
            <c:idx val="1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3E6F-4A87-B32F-5BE755BDC38D}"/>
              </c:ext>
            </c:extLst>
          </c:dPt>
          <c:dPt>
            <c:idx val="11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7-3E6F-4A87-B32F-5BE755BDC38D}"/>
              </c:ext>
            </c:extLst>
          </c:dPt>
          <c:dPt>
            <c:idx val="12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9-3E6F-4A87-B32F-5BE755BDC38D}"/>
              </c:ext>
            </c:extLst>
          </c:dPt>
          <c:dPt>
            <c:idx val="13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B-3E6F-4A87-B32F-5BE755BDC38D}"/>
              </c:ext>
            </c:extLst>
          </c:dPt>
          <c:dPt>
            <c:idx val="15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D-3E6F-4A87-B32F-5BE755BDC38D}"/>
              </c:ext>
            </c:extLst>
          </c:dPt>
          <c:dPt>
            <c:idx val="16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F-3E6F-4A87-B32F-5BE755BDC38D}"/>
              </c:ext>
            </c:extLst>
          </c:dPt>
          <c:dPt>
            <c:idx val="17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1-3E6F-4A87-B32F-5BE755BDC38D}"/>
              </c:ext>
            </c:extLst>
          </c:dPt>
          <c:dPt>
            <c:idx val="18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3-3E6F-4A87-B32F-5BE755BDC38D}"/>
              </c:ext>
            </c:extLst>
          </c:dPt>
          <c:dPt>
            <c:idx val="19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5-3E6F-4A87-B32F-5BE755BDC38D}"/>
              </c:ext>
            </c:extLst>
          </c:dPt>
          <c:dPt>
            <c:idx val="2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7-3E6F-4A87-B32F-5BE755BDC38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2</c:f>
              <c:strCache>
                <c:ptCount val="21"/>
                <c:pt idx="0">
                  <c:v>Liberecký kraj</c:v>
                </c:pt>
                <c:pt idx="1">
                  <c:v>Karlovarský kraj</c:v>
                </c:pt>
                <c:pt idx="2">
                  <c:v>Pardubický kraj</c:v>
                </c:pt>
                <c:pt idx="3">
                  <c:v>Královéhradecký kraj</c:v>
                </c:pt>
                <c:pt idx="4">
                  <c:v>Zlínský kraj</c:v>
                </c:pt>
                <c:pt idx="5">
                  <c:v>Hlavní město Praha</c:v>
                </c:pt>
                <c:pt idx="6">
                  <c:v>Plzeňský kraj</c:v>
                </c:pt>
                <c:pt idx="7">
                  <c:v>Ústecký kraj</c:v>
                </c:pt>
                <c:pt idx="8">
                  <c:v>Jihočeský kraj</c:v>
                </c:pt>
                <c:pt idx="9">
                  <c:v>Olomoucký kraj</c:v>
                </c:pt>
                <c:pt idx="10">
                  <c:v>Kraj Vysočina</c:v>
                </c:pt>
                <c:pt idx="11">
                  <c:v>Jihomoravský kraj</c:v>
                </c:pt>
                <c:pt idx="12">
                  <c:v>Moravskoslezský kraj</c:v>
                </c:pt>
                <c:pt idx="13">
                  <c:v>Středočeský kraj</c:v>
                </c:pt>
                <c:pt idx="15">
                  <c:v>≤ 2000</c:v>
                </c:pt>
                <c:pt idx="16">
                  <c:v>2001 - 5000</c:v>
                </c:pt>
                <c:pt idx="17">
                  <c:v>5001 - 10000</c:v>
                </c:pt>
                <c:pt idx="18">
                  <c:v>10001 - 50000</c:v>
                </c:pt>
                <c:pt idx="19">
                  <c:v>50001 - 100000</c:v>
                </c:pt>
                <c:pt idx="20">
                  <c:v>&gt; 100 000 </c:v>
                </c:pt>
              </c:strCache>
            </c:strRef>
          </c:cat>
          <c:val>
            <c:numRef>
              <c:f>Sheet1!$B$2:$B$22</c:f>
              <c:numCache>
                <c:formatCode>General</c:formatCode>
                <c:ptCount val="21"/>
                <c:pt idx="0">
                  <c:v>-7</c:v>
                </c:pt>
                <c:pt idx="1">
                  <c:v>-10</c:v>
                </c:pt>
                <c:pt idx="2">
                  <c:v>-11</c:v>
                </c:pt>
                <c:pt idx="3">
                  <c:v>-12</c:v>
                </c:pt>
                <c:pt idx="4">
                  <c:v>-14</c:v>
                </c:pt>
                <c:pt idx="5">
                  <c:v>-16</c:v>
                </c:pt>
                <c:pt idx="6">
                  <c:v>-17</c:v>
                </c:pt>
                <c:pt idx="7">
                  <c:v>-18</c:v>
                </c:pt>
                <c:pt idx="8">
                  <c:v>-28</c:v>
                </c:pt>
                <c:pt idx="9">
                  <c:v>-29</c:v>
                </c:pt>
                <c:pt idx="10">
                  <c:v>-35</c:v>
                </c:pt>
                <c:pt idx="11">
                  <c:v>-43</c:v>
                </c:pt>
                <c:pt idx="12">
                  <c:v>-46</c:v>
                </c:pt>
                <c:pt idx="13">
                  <c:v>-50</c:v>
                </c:pt>
                <c:pt idx="15">
                  <c:v>-163</c:v>
                </c:pt>
                <c:pt idx="16">
                  <c:v>-55</c:v>
                </c:pt>
                <c:pt idx="17">
                  <c:v>-15</c:v>
                </c:pt>
                <c:pt idx="18">
                  <c:v>-55</c:v>
                </c:pt>
                <c:pt idx="19">
                  <c:v>-15</c:v>
                </c:pt>
                <c:pt idx="20">
                  <c:v>-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8-3E6F-4A87-B32F-5BE755BDC38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22</c:f>
              <c:strCache>
                <c:ptCount val="21"/>
                <c:pt idx="0">
                  <c:v>Liberecký kraj</c:v>
                </c:pt>
                <c:pt idx="1">
                  <c:v>Karlovarský kraj</c:v>
                </c:pt>
                <c:pt idx="2">
                  <c:v>Pardubický kraj</c:v>
                </c:pt>
                <c:pt idx="3">
                  <c:v>Královéhradecký kraj</c:v>
                </c:pt>
                <c:pt idx="4">
                  <c:v>Zlínský kraj</c:v>
                </c:pt>
                <c:pt idx="5">
                  <c:v>Hlavní město Praha</c:v>
                </c:pt>
                <c:pt idx="6">
                  <c:v>Plzeňský kraj</c:v>
                </c:pt>
                <c:pt idx="7">
                  <c:v>Ústecký kraj</c:v>
                </c:pt>
                <c:pt idx="8">
                  <c:v>Jihočeský kraj</c:v>
                </c:pt>
                <c:pt idx="9">
                  <c:v>Olomoucký kraj</c:v>
                </c:pt>
                <c:pt idx="10">
                  <c:v>Kraj Vysočina</c:v>
                </c:pt>
                <c:pt idx="11">
                  <c:v>Jihomoravský kraj</c:v>
                </c:pt>
                <c:pt idx="12">
                  <c:v>Moravskoslezský kraj</c:v>
                </c:pt>
                <c:pt idx="13">
                  <c:v>Středočeský kraj</c:v>
                </c:pt>
                <c:pt idx="15">
                  <c:v>≤ 2000</c:v>
                </c:pt>
                <c:pt idx="16">
                  <c:v>2001 - 5000</c:v>
                </c:pt>
                <c:pt idx="17">
                  <c:v>5001 - 10000</c:v>
                </c:pt>
                <c:pt idx="18">
                  <c:v>10001 - 50000</c:v>
                </c:pt>
                <c:pt idx="19">
                  <c:v>50001 - 100000</c:v>
                </c:pt>
                <c:pt idx="20">
                  <c:v>&gt; 100 000 </c:v>
                </c:pt>
              </c:strCache>
            </c:strRef>
          </c:cat>
          <c:val>
            <c:numRef>
              <c:f>Sheet1!$C$2:$C$22</c:f>
              <c:numCache>
                <c:formatCode>General</c:formatCode>
                <c:ptCount val="21"/>
              </c:numCache>
            </c:numRef>
          </c:val>
          <c:extLst>
            <c:ext xmlns:c16="http://schemas.microsoft.com/office/drawing/2014/chart" uri="{C3380CC4-5D6E-409C-BE32-E72D297353CC}">
              <c16:uniqueId val="{00000029-3E6F-4A87-B32F-5BE755BDC38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22</c:f>
              <c:strCache>
                <c:ptCount val="21"/>
                <c:pt idx="0">
                  <c:v>Liberecký kraj</c:v>
                </c:pt>
                <c:pt idx="1">
                  <c:v>Karlovarský kraj</c:v>
                </c:pt>
                <c:pt idx="2">
                  <c:v>Pardubický kraj</c:v>
                </c:pt>
                <c:pt idx="3">
                  <c:v>Královéhradecký kraj</c:v>
                </c:pt>
                <c:pt idx="4">
                  <c:v>Zlínský kraj</c:v>
                </c:pt>
                <c:pt idx="5">
                  <c:v>Hlavní město Praha</c:v>
                </c:pt>
                <c:pt idx="6">
                  <c:v>Plzeňský kraj</c:v>
                </c:pt>
                <c:pt idx="7">
                  <c:v>Ústecký kraj</c:v>
                </c:pt>
                <c:pt idx="8">
                  <c:v>Jihočeský kraj</c:v>
                </c:pt>
                <c:pt idx="9">
                  <c:v>Olomoucký kraj</c:v>
                </c:pt>
                <c:pt idx="10">
                  <c:v>Kraj Vysočina</c:v>
                </c:pt>
                <c:pt idx="11">
                  <c:v>Jihomoravský kraj</c:v>
                </c:pt>
                <c:pt idx="12">
                  <c:v>Moravskoslezský kraj</c:v>
                </c:pt>
                <c:pt idx="13">
                  <c:v>Středočeský kraj</c:v>
                </c:pt>
                <c:pt idx="15">
                  <c:v>≤ 2000</c:v>
                </c:pt>
                <c:pt idx="16">
                  <c:v>2001 - 5000</c:v>
                </c:pt>
                <c:pt idx="17">
                  <c:v>5001 - 10000</c:v>
                </c:pt>
                <c:pt idx="18">
                  <c:v>10001 - 50000</c:v>
                </c:pt>
                <c:pt idx="19">
                  <c:v>50001 - 100000</c:v>
                </c:pt>
                <c:pt idx="20">
                  <c:v>&gt; 100 000 </c:v>
                </c:pt>
              </c:strCache>
            </c:strRef>
          </c:cat>
          <c:val>
            <c:numRef>
              <c:f>Sheet1!$D$2:$D$22</c:f>
              <c:numCache>
                <c:formatCode>General</c:formatCode>
                <c:ptCount val="21"/>
              </c:numCache>
            </c:numRef>
          </c:val>
          <c:extLst>
            <c:ext xmlns:c16="http://schemas.microsoft.com/office/drawing/2014/chart" uri="{C3380CC4-5D6E-409C-BE32-E72D297353CC}">
              <c16:uniqueId val="{0000002A-3E6F-4A87-B32F-5BE755BDC38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411765344"/>
        <c:axId val="411764952"/>
      </c:barChart>
      <c:catAx>
        <c:axId val="41176534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1764952"/>
        <c:crosses val="autoZero"/>
        <c:auto val="1"/>
        <c:lblAlgn val="ctr"/>
        <c:lblOffset val="100"/>
        <c:noMultiLvlLbl val="0"/>
      </c:catAx>
      <c:valAx>
        <c:axId val="411764952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17653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705-4929-94EB-941930D0F9A5}"/>
              </c:ext>
            </c:extLst>
          </c:dPt>
          <c:dPt>
            <c:idx val="1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705-4929-94EB-941930D0F9A5}"/>
              </c:ext>
            </c:extLst>
          </c:dPt>
          <c:dPt>
            <c:idx val="2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705-4929-94EB-941930D0F9A5}"/>
              </c:ext>
            </c:extLst>
          </c:dPt>
          <c:dPt>
            <c:idx val="3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C705-4929-94EB-941930D0F9A5}"/>
              </c:ext>
            </c:extLst>
          </c:dPt>
          <c:dPt>
            <c:idx val="4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C705-4929-94EB-941930D0F9A5}"/>
              </c:ext>
            </c:extLst>
          </c:dPt>
          <c:dPt>
            <c:idx val="5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C705-4929-94EB-941930D0F9A5}"/>
              </c:ext>
            </c:extLst>
          </c:dPt>
          <c:dPt>
            <c:idx val="6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C705-4929-94EB-941930D0F9A5}"/>
              </c:ext>
            </c:extLst>
          </c:dPt>
          <c:dPt>
            <c:idx val="7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C705-4929-94EB-941930D0F9A5}"/>
              </c:ext>
            </c:extLst>
          </c:dPt>
          <c:dPt>
            <c:idx val="8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C705-4929-94EB-941930D0F9A5}"/>
              </c:ext>
            </c:extLst>
          </c:dPt>
          <c:dPt>
            <c:idx val="9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C705-4929-94EB-941930D0F9A5}"/>
              </c:ext>
            </c:extLst>
          </c:dPt>
          <c:dPt>
            <c:idx val="1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C705-4929-94EB-941930D0F9A5}"/>
              </c:ext>
            </c:extLst>
          </c:dPt>
          <c:dPt>
            <c:idx val="11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7-C705-4929-94EB-941930D0F9A5}"/>
              </c:ext>
            </c:extLst>
          </c:dPt>
          <c:dPt>
            <c:idx val="12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9-C705-4929-94EB-941930D0F9A5}"/>
              </c:ext>
            </c:extLst>
          </c:dPt>
          <c:dPt>
            <c:idx val="13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B-C705-4929-94EB-941930D0F9A5}"/>
              </c:ext>
            </c:extLst>
          </c:dPt>
          <c:dPt>
            <c:idx val="15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D-C705-4929-94EB-941930D0F9A5}"/>
              </c:ext>
            </c:extLst>
          </c:dPt>
          <c:dPt>
            <c:idx val="16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F-C705-4929-94EB-941930D0F9A5}"/>
              </c:ext>
            </c:extLst>
          </c:dPt>
          <c:dPt>
            <c:idx val="17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1-C705-4929-94EB-941930D0F9A5}"/>
              </c:ext>
            </c:extLst>
          </c:dPt>
          <c:dPt>
            <c:idx val="18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3-C705-4929-94EB-941930D0F9A5}"/>
              </c:ext>
            </c:extLst>
          </c:dPt>
          <c:dPt>
            <c:idx val="19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5-C705-4929-94EB-941930D0F9A5}"/>
              </c:ext>
            </c:extLst>
          </c:dPt>
          <c:dPt>
            <c:idx val="2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7-C705-4929-94EB-941930D0F9A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2</c:f>
              <c:strCache>
                <c:ptCount val="21"/>
                <c:pt idx="0">
                  <c:v>Liberecký kraj</c:v>
                </c:pt>
                <c:pt idx="1">
                  <c:v>Karlovarský kraj</c:v>
                </c:pt>
                <c:pt idx="2">
                  <c:v>Pardubický kraj</c:v>
                </c:pt>
                <c:pt idx="3">
                  <c:v>Královéhradecký kraj</c:v>
                </c:pt>
                <c:pt idx="4">
                  <c:v>Zlínský kraj</c:v>
                </c:pt>
                <c:pt idx="5">
                  <c:v>Hlavní město Praha</c:v>
                </c:pt>
                <c:pt idx="6">
                  <c:v>Plzeňský kraj</c:v>
                </c:pt>
                <c:pt idx="7">
                  <c:v>Ústecký kraj</c:v>
                </c:pt>
                <c:pt idx="8">
                  <c:v>Jihočeský kraj</c:v>
                </c:pt>
                <c:pt idx="9">
                  <c:v>Olomoucký kraj</c:v>
                </c:pt>
                <c:pt idx="10">
                  <c:v>Kraj Vysočina</c:v>
                </c:pt>
                <c:pt idx="11">
                  <c:v>Jihomoravský kraj</c:v>
                </c:pt>
                <c:pt idx="12">
                  <c:v>Moravskoslezský kraj</c:v>
                </c:pt>
                <c:pt idx="13">
                  <c:v>Středočeský kraj</c:v>
                </c:pt>
                <c:pt idx="15">
                  <c:v>≤ 2000</c:v>
                </c:pt>
                <c:pt idx="16">
                  <c:v>2001 - 5000</c:v>
                </c:pt>
                <c:pt idx="17">
                  <c:v>5001 - 10000</c:v>
                </c:pt>
                <c:pt idx="18">
                  <c:v>10001 - 50000</c:v>
                </c:pt>
                <c:pt idx="19">
                  <c:v>50001 - 100000</c:v>
                </c:pt>
                <c:pt idx="20">
                  <c:v>&gt; 100 000 </c:v>
                </c:pt>
              </c:strCache>
            </c:strRef>
          </c:cat>
          <c:val>
            <c:numRef>
              <c:f>Sheet1!$B$2:$B$22</c:f>
              <c:numCache>
                <c:formatCode>General</c:formatCode>
                <c:ptCount val="21"/>
                <c:pt idx="0">
                  <c:v>-7</c:v>
                </c:pt>
                <c:pt idx="1">
                  <c:v>-10</c:v>
                </c:pt>
                <c:pt idx="2">
                  <c:v>-11</c:v>
                </c:pt>
                <c:pt idx="3">
                  <c:v>-12</c:v>
                </c:pt>
                <c:pt idx="4">
                  <c:v>-14</c:v>
                </c:pt>
                <c:pt idx="5">
                  <c:v>-16</c:v>
                </c:pt>
                <c:pt idx="6">
                  <c:v>-17</c:v>
                </c:pt>
                <c:pt idx="7">
                  <c:v>-18</c:v>
                </c:pt>
                <c:pt idx="8">
                  <c:v>-28</c:v>
                </c:pt>
                <c:pt idx="9">
                  <c:v>-29</c:v>
                </c:pt>
                <c:pt idx="10">
                  <c:v>-35</c:v>
                </c:pt>
                <c:pt idx="11">
                  <c:v>-43</c:v>
                </c:pt>
                <c:pt idx="12">
                  <c:v>-46</c:v>
                </c:pt>
                <c:pt idx="13">
                  <c:v>-50</c:v>
                </c:pt>
                <c:pt idx="15">
                  <c:v>-163</c:v>
                </c:pt>
                <c:pt idx="16">
                  <c:v>-55</c:v>
                </c:pt>
                <c:pt idx="17">
                  <c:v>-15</c:v>
                </c:pt>
                <c:pt idx="18">
                  <c:v>-55</c:v>
                </c:pt>
                <c:pt idx="19">
                  <c:v>-15</c:v>
                </c:pt>
                <c:pt idx="20">
                  <c:v>-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8-C705-4929-94EB-941930D0F9A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22</c:f>
              <c:strCache>
                <c:ptCount val="21"/>
                <c:pt idx="0">
                  <c:v>Liberecký kraj</c:v>
                </c:pt>
                <c:pt idx="1">
                  <c:v>Karlovarský kraj</c:v>
                </c:pt>
                <c:pt idx="2">
                  <c:v>Pardubický kraj</c:v>
                </c:pt>
                <c:pt idx="3">
                  <c:v>Královéhradecký kraj</c:v>
                </c:pt>
                <c:pt idx="4">
                  <c:v>Zlínský kraj</c:v>
                </c:pt>
                <c:pt idx="5">
                  <c:v>Hlavní město Praha</c:v>
                </c:pt>
                <c:pt idx="6">
                  <c:v>Plzeňský kraj</c:v>
                </c:pt>
                <c:pt idx="7">
                  <c:v>Ústecký kraj</c:v>
                </c:pt>
                <c:pt idx="8">
                  <c:v>Jihočeský kraj</c:v>
                </c:pt>
                <c:pt idx="9">
                  <c:v>Olomoucký kraj</c:v>
                </c:pt>
                <c:pt idx="10">
                  <c:v>Kraj Vysočina</c:v>
                </c:pt>
                <c:pt idx="11">
                  <c:v>Jihomoravský kraj</c:v>
                </c:pt>
                <c:pt idx="12">
                  <c:v>Moravskoslezský kraj</c:v>
                </c:pt>
                <c:pt idx="13">
                  <c:v>Středočeský kraj</c:v>
                </c:pt>
                <c:pt idx="15">
                  <c:v>≤ 2000</c:v>
                </c:pt>
                <c:pt idx="16">
                  <c:v>2001 - 5000</c:v>
                </c:pt>
                <c:pt idx="17">
                  <c:v>5001 - 10000</c:v>
                </c:pt>
                <c:pt idx="18">
                  <c:v>10001 - 50000</c:v>
                </c:pt>
                <c:pt idx="19">
                  <c:v>50001 - 100000</c:v>
                </c:pt>
                <c:pt idx="20">
                  <c:v>&gt; 100 000 </c:v>
                </c:pt>
              </c:strCache>
            </c:strRef>
          </c:cat>
          <c:val>
            <c:numRef>
              <c:f>Sheet1!$C$2:$C$22</c:f>
              <c:numCache>
                <c:formatCode>General</c:formatCode>
                <c:ptCount val="21"/>
              </c:numCache>
            </c:numRef>
          </c:val>
          <c:extLst>
            <c:ext xmlns:c16="http://schemas.microsoft.com/office/drawing/2014/chart" uri="{C3380CC4-5D6E-409C-BE32-E72D297353CC}">
              <c16:uniqueId val="{00000029-C705-4929-94EB-941930D0F9A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22</c:f>
              <c:strCache>
                <c:ptCount val="21"/>
                <c:pt idx="0">
                  <c:v>Liberecký kraj</c:v>
                </c:pt>
                <c:pt idx="1">
                  <c:v>Karlovarský kraj</c:v>
                </c:pt>
                <c:pt idx="2">
                  <c:v>Pardubický kraj</c:v>
                </c:pt>
                <c:pt idx="3">
                  <c:v>Královéhradecký kraj</c:v>
                </c:pt>
                <c:pt idx="4">
                  <c:v>Zlínský kraj</c:v>
                </c:pt>
                <c:pt idx="5">
                  <c:v>Hlavní město Praha</c:v>
                </c:pt>
                <c:pt idx="6">
                  <c:v>Plzeňský kraj</c:v>
                </c:pt>
                <c:pt idx="7">
                  <c:v>Ústecký kraj</c:v>
                </c:pt>
                <c:pt idx="8">
                  <c:v>Jihočeský kraj</c:v>
                </c:pt>
                <c:pt idx="9">
                  <c:v>Olomoucký kraj</c:v>
                </c:pt>
                <c:pt idx="10">
                  <c:v>Kraj Vysočina</c:v>
                </c:pt>
                <c:pt idx="11">
                  <c:v>Jihomoravský kraj</c:v>
                </c:pt>
                <c:pt idx="12">
                  <c:v>Moravskoslezský kraj</c:v>
                </c:pt>
                <c:pt idx="13">
                  <c:v>Středočeský kraj</c:v>
                </c:pt>
                <c:pt idx="15">
                  <c:v>≤ 2000</c:v>
                </c:pt>
                <c:pt idx="16">
                  <c:v>2001 - 5000</c:v>
                </c:pt>
                <c:pt idx="17">
                  <c:v>5001 - 10000</c:v>
                </c:pt>
                <c:pt idx="18">
                  <c:v>10001 - 50000</c:v>
                </c:pt>
                <c:pt idx="19">
                  <c:v>50001 - 100000</c:v>
                </c:pt>
                <c:pt idx="20">
                  <c:v>&gt; 100 000 </c:v>
                </c:pt>
              </c:strCache>
            </c:strRef>
          </c:cat>
          <c:val>
            <c:numRef>
              <c:f>Sheet1!$D$2:$D$22</c:f>
              <c:numCache>
                <c:formatCode>General</c:formatCode>
                <c:ptCount val="21"/>
              </c:numCache>
            </c:numRef>
          </c:val>
          <c:extLst>
            <c:ext xmlns:c16="http://schemas.microsoft.com/office/drawing/2014/chart" uri="{C3380CC4-5D6E-409C-BE32-E72D297353CC}">
              <c16:uniqueId val="{0000002A-C705-4929-94EB-941930D0F9A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411765344"/>
        <c:axId val="411764952"/>
      </c:barChart>
      <c:catAx>
        <c:axId val="41176534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1764952"/>
        <c:crosses val="autoZero"/>
        <c:auto val="1"/>
        <c:lblAlgn val="ctr"/>
        <c:lblOffset val="100"/>
        <c:noMultiLvlLbl val="0"/>
      </c:catAx>
      <c:valAx>
        <c:axId val="411764952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17653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4695081024824667E-2"/>
          <c:y val="3.4710652534455523E-2"/>
          <c:w val="0.89772678817626628"/>
          <c:h val="0.82659249486116027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Dětské lékařství</c:v>
                </c:pt>
              </c:strCache>
            </c:strRef>
          </c:tx>
          <c:spPr>
            <a:ln w="19050" cap="rnd" cmpd="sng" algn="ctr">
              <a:solidFill>
                <a:schemeClr val="accent1"/>
              </a:solidFill>
              <a:prstDash val="solid"/>
              <a:round/>
            </a:ln>
            <a:effectLst/>
          </c:spPr>
          <c:marker>
            <c:symbol val="none"/>
          </c:marker>
          <c:dPt>
            <c:idx val="8"/>
            <c:bubble3D val="0"/>
            <c:extLst>
              <c:ext xmlns:c16="http://schemas.microsoft.com/office/drawing/2014/chart" uri="{C3380CC4-5D6E-409C-BE32-E72D297353CC}">
                <c16:uniqueId val="{00000000-2F5F-4A04-AD48-87A4AAED495C}"/>
              </c:ext>
            </c:extLst>
          </c:dPt>
          <c:dPt>
            <c:idx val="9"/>
            <c:bubble3D val="0"/>
            <c:extLst>
              <c:ext xmlns:c16="http://schemas.microsoft.com/office/drawing/2014/chart" uri="{C3380CC4-5D6E-409C-BE32-E72D297353CC}">
                <c16:uniqueId val="{00000001-2F5F-4A04-AD48-87A4AAED495C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2-2F5F-4A04-AD48-87A4AAED495C}"/>
              </c:ext>
            </c:extLst>
          </c:dPt>
          <c:dPt>
            <c:idx val="11"/>
            <c:bubble3D val="0"/>
            <c:extLst>
              <c:ext xmlns:c16="http://schemas.microsoft.com/office/drawing/2014/chart" uri="{C3380CC4-5D6E-409C-BE32-E72D297353CC}">
                <c16:uniqueId val="{00000003-2F5F-4A04-AD48-87A4AAED495C}"/>
              </c:ext>
            </c:extLst>
          </c:dPt>
          <c:dPt>
            <c:idx val="12"/>
            <c:bubble3D val="0"/>
            <c:extLst>
              <c:ext xmlns:c16="http://schemas.microsoft.com/office/drawing/2014/chart" uri="{C3380CC4-5D6E-409C-BE32-E72D297353CC}">
                <c16:uniqueId val="{00000004-2F5F-4A04-AD48-87A4AAED495C}"/>
              </c:ext>
            </c:extLst>
          </c:dPt>
          <c:dPt>
            <c:idx val="14"/>
            <c:bubble3D val="0"/>
            <c:extLst>
              <c:ext xmlns:c16="http://schemas.microsoft.com/office/drawing/2014/chart" uri="{C3380CC4-5D6E-409C-BE32-E72D297353CC}">
                <c16:uniqueId val="{00000005-2F5F-4A04-AD48-87A4AAED495C}"/>
              </c:ext>
            </c:extLst>
          </c:dPt>
          <c:dLbls>
            <c:dLbl>
              <c:idx val="11"/>
              <c:layout>
                <c:manualLayout>
                  <c:x val="-2.4684777122931708E-2"/>
                  <c:y val="-3.95605731777738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F5F-4A04-AD48-87A4AAED495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List1!$B$1:$N$1</c:f>
              <c:numCache>
                <c:formatCode>General</c:formatCode>
                <c:ptCount val="13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</c:numCache>
            </c:numRef>
          </c:cat>
          <c:val>
            <c:numRef>
              <c:f>List1!$B$2:$N$2</c:f>
              <c:numCache>
                <c:formatCode>General</c:formatCode>
                <c:ptCount val="13"/>
                <c:pt idx="0">
                  <c:v>55</c:v>
                </c:pt>
                <c:pt idx="1">
                  <c:v>68</c:v>
                </c:pt>
                <c:pt idx="2">
                  <c:v>65</c:v>
                </c:pt>
                <c:pt idx="3">
                  <c:v>71</c:v>
                </c:pt>
                <c:pt idx="4">
                  <c:v>61</c:v>
                </c:pt>
                <c:pt idx="5">
                  <c:v>59</c:v>
                </c:pt>
                <c:pt idx="6">
                  <c:v>52</c:v>
                </c:pt>
                <c:pt idx="7">
                  <c:v>49</c:v>
                </c:pt>
                <c:pt idx="8">
                  <c:v>59</c:v>
                </c:pt>
                <c:pt idx="9">
                  <c:v>60</c:v>
                </c:pt>
                <c:pt idx="10">
                  <c:v>63</c:v>
                </c:pt>
                <c:pt idx="11">
                  <c:v>40</c:v>
                </c:pt>
                <c:pt idx="12">
                  <c:v>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2F5F-4A04-AD48-87A4AAED495C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Praktické lékařství pro děti a dorost</c:v>
                </c:pt>
              </c:strCache>
            </c:strRef>
          </c:tx>
          <c:spPr>
            <a:ln w="19050" cap="rnd" cmpd="sng" algn="ctr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1" i="0" u="none" strike="noStrike" kern="1200" baseline="0">
                    <a:solidFill>
                      <a:srgbClr val="C0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List1!$B$1:$N$1</c:f>
              <c:numCache>
                <c:formatCode>General</c:formatCode>
                <c:ptCount val="13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</c:numCache>
            </c:numRef>
          </c:cat>
          <c:val>
            <c:numRef>
              <c:f>List1!$B$3:$N$3</c:f>
              <c:numCache>
                <c:formatCode>General</c:formatCode>
                <c:ptCount val="13"/>
                <c:pt idx="0">
                  <c:v>38</c:v>
                </c:pt>
                <c:pt idx="1">
                  <c:v>16</c:v>
                </c:pt>
                <c:pt idx="2">
                  <c:v>29</c:v>
                </c:pt>
                <c:pt idx="3">
                  <c:v>39</c:v>
                </c:pt>
                <c:pt idx="4">
                  <c:v>52</c:v>
                </c:pt>
                <c:pt idx="5">
                  <c:v>47</c:v>
                </c:pt>
                <c:pt idx="6">
                  <c:v>38</c:v>
                </c:pt>
                <c:pt idx="7">
                  <c:v>38</c:v>
                </c:pt>
                <c:pt idx="8">
                  <c:v>32</c:v>
                </c:pt>
                <c:pt idx="9">
                  <c:v>32</c:v>
                </c:pt>
                <c:pt idx="10">
                  <c:v>28</c:v>
                </c:pt>
                <c:pt idx="11">
                  <c:v>31</c:v>
                </c:pt>
                <c:pt idx="12">
                  <c:v>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2F5F-4A04-AD48-87A4AAED495C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Pediatrie</c:v>
                </c:pt>
              </c:strCache>
            </c:strRef>
          </c:tx>
          <c:spPr>
            <a:ln w="19050" cap="rnd" cmpd="sng" algn="ctr">
              <a:solidFill>
                <a:schemeClr val="tx1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11"/>
              <c:layout>
                <c:manualLayout>
                  <c:x val="3.910875705819182E-3"/>
                  <c:y val="-3.825347412685160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2F5F-4A04-AD48-87A4AAED495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B$1:$N$1</c:f>
              <c:numCache>
                <c:formatCode>General</c:formatCode>
                <c:ptCount val="13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</c:numCache>
            </c:numRef>
          </c:cat>
          <c:val>
            <c:numRef>
              <c:f>List1!$B$4:$N$4</c:f>
              <c:numCache>
                <c:formatCode>General</c:formatCode>
                <c:ptCount val="13"/>
                <c:pt idx="8">
                  <c:v>2</c:v>
                </c:pt>
                <c:pt idx="9">
                  <c:v>3</c:v>
                </c:pt>
                <c:pt idx="10">
                  <c:v>14</c:v>
                </c:pt>
                <c:pt idx="11">
                  <c:v>27</c:v>
                </c:pt>
                <c:pt idx="12">
                  <c:v>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2F5F-4A04-AD48-87A4AAED495C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59871232"/>
        <c:axId val="59879808"/>
      </c:lineChart>
      <c:catAx>
        <c:axId val="5987123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6350" cap="flat" cmpd="sng" algn="ctr">
            <a:solidFill>
              <a:schemeClr val="tx1"/>
            </a:solidFill>
            <a:prstDash val="solid"/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879808"/>
        <c:crosses val="autoZero"/>
        <c:auto val="1"/>
        <c:lblAlgn val="ctr"/>
        <c:lblOffset val="100"/>
        <c:tickLblSkip val="1"/>
        <c:noMultiLvlLbl val="0"/>
      </c:catAx>
      <c:valAx>
        <c:axId val="59879808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tx1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8712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1200"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4695081024824667E-2"/>
          <c:y val="3.4710652534455523E-2"/>
          <c:w val="0.89772678817626628"/>
          <c:h val="0.82659249486116027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Dětské lékařství</c:v>
                </c:pt>
              </c:strCache>
            </c:strRef>
          </c:tx>
          <c:spPr>
            <a:ln w="19050" cap="rnd" cmpd="sng" algn="ctr">
              <a:solidFill>
                <a:schemeClr val="accent1"/>
              </a:solidFill>
              <a:prstDash val="solid"/>
              <a:round/>
            </a:ln>
            <a:effectLst/>
          </c:spPr>
          <c:marker>
            <c:symbol val="none"/>
          </c:marker>
          <c:dPt>
            <c:idx val="8"/>
            <c:bubble3D val="0"/>
            <c:extLst>
              <c:ext xmlns:c16="http://schemas.microsoft.com/office/drawing/2014/chart" uri="{C3380CC4-5D6E-409C-BE32-E72D297353CC}">
                <c16:uniqueId val="{00000000-533B-4233-9DEB-CB01927CEA01}"/>
              </c:ext>
            </c:extLst>
          </c:dPt>
          <c:dPt>
            <c:idx val="14"/>
            <c:bubble3D val="0"/>
            <c:extLst>
              <c:ext xmlns:c16="http://schemas.microsoft.com/office/drawing/2014/chart" uri="{C3380CC4-5D6E-409C-BE32-E72D297353CC}">
                <c16:uniqueId val="{00000005-533B-4233-9DEB-CB01927CEA0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List1!$B$1:$J$1</c:f>
              <c:numCache>
                <c:formatCode>General</c:formatCode>
                <c:ptCount val="9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</c:numCache>
            </c:numRef>
          </c:cat>
          <c:val>
            <c:numRef>
              <c:f>List1!$B$2:$J$2</c:f>
              <c:numCache>
                <c:formatCode>General</c:formatCode>
                <c:ptCount val="9"/>
                <c:pt idx="0">
                  <c:v>6</c:v>
                </c:pt>
                <c:pt idx="1">
                  <c:v>13</c:v>
                </c:pt>
                <c:pt idx="2">
                  <c:v>47</c:v>
                </c:pt>
                <c:pt idx="3">
                  <c:v>14</c:v>
                </c:pt>
                <c:pt idx="4">
                  <c:v>1</c:v>
                </c:pt>
                <c:pt idx="5">
                  <c:v>2</c:v>
                </c:pt>
                <c:pt idx="6">
                  <c:v>0</c:v>
                </c:pt>
                <c:pt idx="7">
                  <c:v>1</c:v>
                </c:pt>
                <c:pt idx="8">
                  <c:v>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533B-4233-9DEB-CB01927CEA01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Praktický lékař pro děti a dorost</c:v>
                </c:pt>
              </c:strCache>
            </c:strRef>
          </c:tx>
          <c:spPr>
            <a:ln w="19050" cap="rnd" cmpd="sng" algn="ctr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1" i="0" u="none" strike="noStrike" kern="1200" baseline="0">
                    <a:solidFill>
                      <a:srgbClr val="C0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List1!$B$1:$J$1</c:f>
              <c:numCache>
                <c:formatCode>General</c:formatCode>
                <c:ptCount val="9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</c:numCache>
            </c:numRef>
          </c:cat>
          <c:val>
            <c:numRef>
              <c:f>List1!$B$3:$J$3</c:f>
              <c:numCache>
                <c:formatCode>General</c:formatCode>
                <c:ptCount val="9"/>
                <c:pt idx="0">
                  <c:v>69</c:v>
                </c:pt>
                <c:pt idx="1">
                  <c:v>64</c:v>
                </c:pt>
                <c:pt idx="2">
                  <c:v>81</c:v>
                </c:pt>
                <c:pt idx="3">
                  <c:v>55</c:v>
                </c:pt>
                <c:pt idx="4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533B-4233-9DEB-CB01927CEA01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Pediatrie</c:v>
                </c:pt>
              </c:strCache>
            </c:strRef>
          </c:tx>
          <c:spPr>
            <a:ln w="19050" cap="rnd" cmpd="sng" algn="ctr">
              <a:solidFill>
                <a:schemeClr val="tx1"/>
              </a:solidFill>
              <a:prstDash val="solid"/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B$1:$J$1</c:f>
              <c:numCache>
                <c:formatCode>General</c:formatCode>
                <c:ptCount val="9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</c:numCache>
            </c:numRef>
          </c:cat>
          <c:val>
            <c:numRef>
              <c:f>List1!$B$4:$J$4</c:f>
              <c:numCache>
                <c:formatCode>General</c:formatCode>
                <c:ptCount val="9"/>
                <c:pt idx="2">
                  <c:v>0</c:v>
                </c:pt>
                <c:pt idx="3">
                  <c:v>35</c:v>
                </c:pt>
                <c:pt idx="4">
                  <c:v>167</c:v>
                </c:pt>
                <c:pt idx="5">
                  <c:v>184</c:v>
                </c:pt>
                <c:pt idx="6">
                  <c:v>201</c:v>
                </c:pt>
                <c:pt idx="7">
                  <c:v>213</c:v>
                </c:pt>
                <c:pt idx="8">
                  <c:v>2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533B-4233-9DEB-CB01927CEA01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59871232"/>
        <c:axId val="59879808"/>
      </c:lineChart>
      <c:catAx>
        <c:axId val="5987123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6350" cap="flat" cmpd="sng" algn="ctr">
            <a:solidFill>
              <a:schemeClr val="tx1"/>
            </a:solidFill>
            <a:prstDash val="solid"/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879808"/>
        <c:crosses val="autoZero"/>
        <c:auto val="1"/>
        <c:lblAlgn val="ctr"/>
        <c:lblOffset val="100"/>
        <c:tickLblSkip val="1"/>
        <c:noMultiLvlLbl val="0"/>
      </c:catAx>
      <c:valAx>
        <c:axId val="59879808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tx1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8712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1200"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4695081024824667E-2"/>
          <c:y val="3.4710652534455523E-2"/>
          <c:w val="0.89772678817626628"/>
          <c:h val="0.82659249486116027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Dětské lékařství</c:v>
                </c:pt>
              </c:strCache>
            </c:strRef>
          </c:tx>
          <c:spPr>
            <a:ln w="19050" cap="rnd" cmpd="sng" algn="ctr">
              <a:solidFill>
                <a:schemeClr val="accent1"/>
              </a:solidFill>
              <a:prstDash val="solid"/>
              <a:round/>
            </a:ln>
            <a:effectLst/>
          </c:spPr>
          <c:marker>
            <c:symbol val="none"/>
          </c:marker>
          <c:dPt>
            <c:idx val="8"/>
            <c:bubble3D val="0"/>
            <c:extLst>
              <c:ext xmlns:c16="http://schemas.microsoft.com/office/drawing/2014/chart" uri="{C3380CC4-5D6E-409C-BE32-E72D297353CC}">
                <c16:uniqueId val="{00000000-E202-40B7-831E-EF7C571A8FB0}"/>
              </c:ext>
            </c:extLst>
          </c:dPt>
          <c:dPt>
            <c:idx val="14"/>
            <c:bubble3D val="0"/>
            <c:extLst>
              <c:ext xmlns:c16="http://schemas.microsoft.com/office/drawing/2014/chart" uri="{C3380CC4-5D6E-409C-BE32-E72D297353CC}">
                <c16:uniqueId val="{00000001-E202-40B7-831E-EF7C571A8FB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1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List1!$B$1:$J$1</c:f>
              <c:numCache>
                <c:formatCode>General</c:formatCode>
                <c:ptCount val="9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</c:numCache>
            </c:numRef>
          </c:cat>
          <c:val>
            <c:numRef>
              <c:f>List1!$B$2:$J$2</c:f>
              <c:numCache>
                <c:formatCode>General</c:formatCode>
                <c:ptCount val="9"/>
                <c:pt idx="7">
                  <c:v>6</c:v>
                </c:pt>
                <c:pt idx="8">
                  <c:v>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02-40B7-831E-EF7C571A8FB0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Praktický lékař pro děti a dorost</c:v>
                </c:pt>
              </c:strCache>
            </c:strRef>
          </c:tx>
          <c:spPr>
            <a:ln w="19050" cap="rnd" cmpd="sng" algn="ctr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1" i="0" u="none" strike="noStrike" kern="1200" baseline="0">
                    <a:solidFill>
                      <a:srgbClr val="C0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List1!$B$1:$J$1</c:f>
              <c:numCache>
                <c:formatCode>General</c:formatCode>
                <c:ptCount val="9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</c:numCache>
            </c:numRef>
          </c:cat>
          <c:val>
            <c:numRef>
              <c:f>List1!$B$3:$J$3</c:f>
              <c:numCache>
                <c:formatCode>General</c:formatCode>
                <c:ptCount val="9"/>
                <c:pt idx="0">
                  <c:v>22</c:v>
                </c:pt>
                <c:pt idx="1">
                  <c:v>23</c:v>
                </c:pt>
                <c:pt idx="2">
                  <c:v>19</c:v>
                </c:pt>
                <c:pt idx="3">
                  <c:v>21</c:v>
                </c:pt>
                <c:pt idx="4">
                  <c:v>32</c:v>
                </c:pt>
                <c:pt idx="5">
                  <c:v>27</c:v>
                </c:pt>
                <c:pt idx="6">
                  <c:v>15</c:v>
                </c:pt>
                <c:pt idx="7">
                  <c:v>1</c:v>
                </c:pt>
                <c:pt idx="8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202-40B7-831E-EF7C571A8FB0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Pediatrie</c:v>
                </c:pt>
              </c:strCache>
            </c:strRef>
          </c:tx>
          <c:spPr>
            <a:ln w="19050" cap="rnd" cmpd="sng" algn="ctr">
              <a:solidFill>
                <a:schemeClr val="tx1"/>
              </a:solidFill>
              <a:prstDash val="solid"/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B$1:$J$1</c:f>
              <c:numCache>
                <c:formatCode>General</c:formatCode>
                <c:ptCount val="9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</c:numCache>
            </c:numRef>
          </c:cat>
          <c:val>
            <c:numRef>
              <c:f>List1!$B$4:$J$4</c:f>
              <c:numCache>
                <c:formatCode>General</c:formatCode>
                <c:ptCount val="9"/>
                <c:pt idx="3">
                  <c:v>10</c:v>
                </c:pt>
                <c:pt idx="4">
                  <c:v>10</c:v>
                </c:pt>
                <c:pt idx="5">
                  <c:v>6</c:v>
                </c:pt>
                <c:pt idx="6">
                  <c:v>19</c:v>
                </c:pt>
                <c:pt idx="7">
                  <c:v>96</c:v>
                </c:pt>
                <c:pt idx="8">
                  <c:v>1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02-40B7-831E-EF7C571A8FB0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59871232"/>
        <c:axId val="59879808"/>
      </c:lineChart>
      <c:catAx>
        <c:axId val="5987123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6350" cap="flat" cmpd="sng" algn="ctr">
            <a:solidFill>
              <a:schemeClr val="tx1"/>
            </a:solidFill>
            <a:prstDash val="solid"/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879808"/>
        <c:crosses val="autoZero"/>
        <c:auto val="1"/>
        <c:lblAlgn val="ctr"/>
        <c:lblOffset val="100"/>
        <c:tickLblSkip val="1"/>
        <c:noMultiLvlLbl val="0"/>
      </c:catAx>
      <c:valAx>
        <c:axId val="59879808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tx1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8712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1200"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muži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 sz="1100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List1!$B$1:$N$1</c:f>
              <c:numCache>
                <c:formatCode>General</c:formatCode>
                <c:ptCount val="13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</c:numCache>
            </c:numRef>
          </c:cat>
          <c:val>
            <c:numRef>
              <c:f>List1!$B$2:$N$2</c:f>
              <c:numCache>
                <c:formatCode>0.0</c:formatCode>
                <c:ptCount val="13"/>
                <c:pt idx="0">
                  <c:v>22.58064516129032</c:v>
                </c:pt>
                <c:pt idx="1">
                  <c:v>20.238095238095237</c:v>
                </c:pt>
                <c:pt idx="2">
                  <c:v>25.531914893617021</c:v>
                </c:pt>
                <c:pt idx="3">
                  <c:v>13.636363636363635</c:v>
                </c:pt>
                <c:pt idx="4">
                  <c:v>14.159292035398231</c:v>
                </c:pt>
                <c:pt idx="5">
                  <c:v>17.924528301886792</c:v>
                </c:pt>
                <c:pt idx="6">
                  <c:v>12.222222222222221</c:v>
                </c:pt>
                <c:pt idx="7">
                  <c:v>19.540229885057471</c:v>
                </c:pt>
                <c:pt idx="8">
                  <c:v>11.827956989247312</c:v>
                </c:pt>
                <c:pt idx="9">
                  <c:v>14.736842105263156</c:v>
                </c:pt>
                <c:pt idx="10">
                  <c:v>19.047619047619047</c:v>
                </c:pt>
                <c:pt idx="11">
                  <c:v>25.510204081632654</c:v>
                </c:pt>
                <c:pt idx="12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2F-4164-94F3-5B28634F1D93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ženy</c:v>
                </c:pt>
              </c:strCache>
            </c:strRef>
          </c:tx>
          <c:spPr>
            <a:solidFill>
              <a:srgbClr val="FF99FF"/>
            </a:solidFill>
            <a:ln>
              <a:noFill/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 rot="-5400000"/>
              <a:lstStyle/>
              <a:p>
                <a:pPr>
                  <a:defRPr sz="1100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List1!$B$1:$N$1</c:f>
              <c:numCache>
                <c:formatCode>General</c:formatCode>
                <c:ptCount val="13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</c:numCache>
            </c:numRef>
          </c:cat>
          <c:val>
            <c:numRef>
              <c:f>List1!$B$3:$N$3</c:f>
              <c:numCache>
                <c:formatCode>0.0</c:formatCode>
                <c:ptCount val="13"/>
                <c:pt idx="0">
                  <c:v>77.41935483870968</c:v>
                </c:pt>
                <c:pt idx="1">
                  <c:v>79.761904761904773</c:v>
                </c:pt>
                <c:pt idx="2">
                  <c:v>74.468085106382972</c:v>
                </c:pt>
                <c:pt idx="3">
                  <c:v>86.36363636363636</c:v>
                </c:pt>
                <c:pt idx="4">
                  <c:v>85.840707964601776</c:v>
                </c:pt>
                <c:pt idx="5">
                  <c:v>82.075471698113205</c:v>
                </c:pt>
                <c:pt idx="6">
                  <c:v>87.777777777777771</c:v>
                </c:pt>
                <c:pt idx="7">
                  <c:v>80.459770114942529</c:v>
                </c:pt>
                <c:pt idx="8">
                  <c:v>88.172043010752688</c:v>
                </c:pt>
                <c:pt idx="9">
                  <c:v>85.263157894736835</c:v>
                </c:pt>
                <c:pt idx="10">
                  <c:v>80.952380952380949</c:v>
                </c:pt>
                <c:pt idx="11">
                  <c:v>74.489795918367349</c:v>
                </c:pt>
                <c:pt idx="12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22F-4164-94F3-5B28634F1D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44916096"/>
        <c:axId val="46122112"/>
      </c:barChart>
      <c:catAx>
        <c:axId val="4491609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txPr>
          <a:bodyPr rot="-2700000"/>
          <a:lstStyle/>
          <a:p>
            <a:pPr>
              <a:defRPr/>
            </a:pPr>
            <a:endParaRPr lang="cs-CZ"/>
          </a:p>
        </c:txPr>
        <c:crossAx val="46122112"/>
        <c:crosses val="autoZero"/>
        <c:auto val="1"/>
        <c:lblAlgn val="ctr"/>
        <c:lblOffset val="100"/>
        <c:tickLblSkip val="1"/>
        <c:noMultiLvlLbl val="0"/>
      </c:catAx>
      <c:valAx>
        <c:axId val="46122112"/>
        <c:scaling>
          <c:orientation val="minMax"/>
          <c:max val="10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.0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4491609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cs-CZ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5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6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33E734-00B3-4A9A-81C4-813D8F393B1E}" type="datetimeFigureOut">
              <a:rPr lang="en-US" smtClean="0"/>
              <a:t>10/24/23</a:t>
            </a:fld>
            <a:endParaRPr lang="en-US" dirty="0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3BDBF4-A65A-4E86-8D13-3641195D3E2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49518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1AF84F-1428-4A77-924B-854265A04D7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03482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3BDBF4-A65A-4E86-8D13-3641195D3E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540660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7FAF74-7B26-4960-B3A2-9434BAEC7F0B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13996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1AF84F-1428-4A77-924B-854265A04D7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48130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1AF84F-1428-4A77-924B-854265A04D7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22652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1AF84F-1428-4A77-924B-854265A04D7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5181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1AF84F-1428-4A77-924B-854265A04D7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96804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1AF84F-1428-4A77-924B-854265A04D7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9201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1AF84F-1428-4A77-924B-854265A04D7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6167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1AF84F-1428-4A77-924B-854265A04D7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409983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7FAF74-7B26-4960-B3A2-9434BAEC7F0B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06961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3" Type="http://schemas.openxmlformats.org/officeDocument/2006/relationships/tags" Target="../tags/tag14.xml"/><Relationship Id="rId18" Type="http://schemas.openxmlformats.org/officeDocument/2006/relationships/image" Target="../media/image2.emf"/><Relationship Id="rId26" Type="http://schemas.openxmlformats.org/officeDocument/2006/relationships/image" Target="../media/image10.tiff"/><Relationship Id="rId21" Type="http://schemas.openxmlformats.org/officeDocument/2006/relationships/image" Target="../media/image5.tiff"/><Relationship Id="rId34" Type="http://schemas.openxmlformats.org/officeDocument/2006/relationships/image" Target="../media/image18.png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image" Target="../media/image1.emf"/><Relationship Id="rId25" Type="http://schemas.openxmlformats.org/officeDocument/2006/relationships/image" Target="../media/image9.tiff"/><Relationship Id="rId33" Type="http://schemas.openxmlformats.org/officeDocument/2006/relationships/image" Target="../media/image17.png"/><Relationship Id="rId2" Type="http://schemas.openxmlformats.org/officeDocument/2006/relationships/tags" Target="../tags/tag3.xml"/><Relationship Id="rId16" Type="http://schemas.openxmlformats.org/officeDocument/2006/relationships/slideMaster" Target="../slideMasters/slideMaster1.xml"/><Relationship Id="rId20" Type="http://schemas.openxmlformats.org/officeDocument/2006/relationships/image" Target="../media/image4.tiff"/><Relationship Id="rId29" Type="http://schemas.openxmlformats.org/officeDocument/2006/relationships/image" Target="../media/image13.png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image" Target="../media/image8.jpeg"/><Relationship Id="rId32" Type="http://schemas.openxmlformats.org/officeDocument/2006/relationships/image" Target="../media/image16.png"/><Relationship Id="rId37" Type="http://schemas.openxmlformats.org/officeDocument/2006/relationships/image" Target="../media/image20.png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image" Target="../media/image7.jpeg"/><Relationship Id="rId28" Type="http://schemas.openxmlformats.org/officeDocument/2006/relationships/image" Target="../media/image12.jpeg"/><Relationship Id="rId36" Type="http://schemas.openxmlformats.org/officeDocument/2006/relationships/image" Target="../media/image19.png"/><Relationship Id="rId10" Type="http://schemas.openxmlformats.org/officeDocument/2006/relationships/tags" Target="../tags/tag11.xml"/><Relationship Id="rId19" Type="http://schemas.openxmlformats.org/officeDocument/2006/relationships/image" Target="../media/image3.emf"/><Relationship Id="rId31" Type="http://schemas.openxmlformats.org/officeDocument/2006/relationships/image" Target="../media/image15.png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image" Target="../media/image6.tiff"/><Relationship Id="rId27" Type="http://schemas.openxmlformats.org/officeDocument/2006/relationships/image" Target="../media/image11.tiff"/><Relationship Id="rId30" Type="http://schemas.openxmlformats.org/officeDocument/2006/relationships/image" Target="../media/image14.png"/><Relationship Id="rId35" Type="http://schemas.microsoft.com/office/2007/relationships/hdphoto" Target="../media/hdphoto1.wdp"/><Relationship Id="rId8" Type="http://schemas.openxmlformats.org/officeDocument/2006/relationships/tags" Target="../tags/tag9.xml"/><Relationship Id="rId3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emf"/><Relationship Id="rId13" Type="http://schemas.openxmlformats.org/officeDocument/2006/relationships/image" Target="../media/image3.emf"/><Relationship Id="rId3" Type="http://schemas.openxmlformats.org/officeDocument/2006/relationships/image" Target="../media/image2.emf"/><Relationship Id="rId7" Type="http://schemas.openxmlformats.org/officeDocument/2006/relationships/image" Target="../media/image24.emf"/><Relationship Id="rId12" Type="http://schemas.openxmlformats.org/officeDocument/2006/relationships/image" Target="../media/image29.emf"/><Relationship Id="rId2" Type="http://schemas.openxmlformats.org/officeDocument/2006/relationships/slideMaster" Target="../slideMasters/slideMaster2.xml"/><Relationship Id="rId16" Type="http://schemas.openxmlformats.org/officeDocument/2006/relationships/image" Target="../media/image32.png"/><Relationship Id="rId1" Type="http://schemas.openxmlformats.org/officeDocument/2006/relationships/tags" Target="../tags/tag17.xml"/><Relationship Id="rId6" Type="http://schemas.openxmlformats.org/officeDocument/2006/relationships/image" Target="../media/image23.emf"/><Relationship Id="rId11" Type="http://schemas.openxmlformats.org/officeDocument/2006/relationships/image" Target="../media/image28.emf"/><Relationship Id="rId5" Type="http://schemas.openxmlformats.org/officeDocument/2006/relationships/image" Target="../media/image22.png"/><Relationship Id="rId15" Type="http://schemas.openxmlformats.org/officeDocument/2006/relationships/image" Target="../media/image31.tif"/><Relationship Id="rId10" Type="http://schemas.openxmlformats.org/officeDocument/2006/relationships/image" Target="../media/image27.emf"/><Relationship Id="rId4" Type="http://schemas.openxmlformats.org/officeDocument/2006/relationships/image" Target="../media/image21.emf"/><Relationship Id="rId9" Type="http://schemas.openxmlformats.org/officeDocument/2006/relationships/image" Target="../media/image26.emf"/><Relationship Id="rId14" Type="http://schemas.openxmlformats.org/officeDocument/2006/relationships/image" Target="../media/image30.jpe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tiff"/><Relationship Id="rId7" Type="http://schemas.openxmlformats.org/officeDocument/2006/relationships/image" Target="../media/image36.tiff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5.png"/><Relationship Id="rId5" Type="http://schemas.openxmlformats.org/officeDocument/2006/relationships/image" Target="../media/image2.emf"/><Relationship Id="rId4" Type="http://schemas.openxmlformats.org/officeDocument/2006/relationships/image" Target="../media/image21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7" Type="http://schemas.openxmlformats.org/officeDocument/2006/relationships/image" Target="../media/image42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1.jpeg"/><Relationship Id="rId5" Type="http://schemas.openxmlformats.org/officeDocument/2006/relationships/image" Target="cid:image003.jpg@01CF6DFE.8D73A1C0" TargetMode="External"/><Relationship Id="rId4" Type="http://schemas.openxmlformats.org/officeDocument/2006/relationships/image" Target="../media/image40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7" Type="http://schemas.openxmlformats.org/officeDocument/2006/relationships/image" Target="../media/image42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41.jpeg"/><Relationship Id="rId5" Type="http://schemas.openxmlformats.org/officeDocument/2006/relationships/image" Target="cid:image003.jpg@01CF6DFE.8D73A1C0" TargetMode="External"/><Relationship Id="rId4" Type="http://schemas.openxmlformats.org/officeDocument/2006/relationships/image" Target="../media/image40.jpeg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cid:image003.jpg@01CF6DFE.8D73A1C0" TargetMode="External"/><Relationship Id="rId3" Type="http://schemas.openxmlformats.org/officeDocument/2006/relationships/image" Target="../media/image43.png"/><Relationship Id="rId7" Type="http://schemas.openxmlformats.org/officeDocument/2006/relationships/image" Target="../media/image40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8.xml"/><Relationship Id="rId6" Type="http://schemas.openxmlformats.org/officeDocument/2006/relationships/image" Target="../media/image20.png"/><Relationship Id="rId5" Type="http://schemas.openxmlformats.org/officeDocument/2006/relationships/image" Target="../media/image3.emf"/><Relationship Id="rId10" Type="http://schemas.openxmlformats.org/officeDocument/2006/relationships/image" Target="../media/image42.png"/><Relationship Id="rId4" Type="http://schemas.openxmlformats.org/officeDocument/2006/relationships/image" Target="../media/image2.emf"/><Relationship Id="rId9" Type="http://schemas.openxmlformats.org/officeDocument/2006/relationships/image" Target="../media/image44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7" Type="http://schemas.openxmlformats.org/officeDocument/2006/relationships/image" Target="../media/image42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41.jpeg"/><Relationship Id="rId5" Type="http://schemas.openxmlformats.org/officeDocument/2006/relationships/image" Target="cid:image003.jpg@01CF6DFE.8D73A1C0" TargetMode="External"/><Relationship Id="rId4" Type="http://schemas.openxmlformats.org/officeDocument/2006/relationships/image" Target="../media/image40.jpe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1.emf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7" Type="http://schemas.openxmlformats.org/officeDocument/2006/relationships/image" Target="../media/image42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41.jpeg"/><Relationship Id="rId5" Type="http://schemas.openxmlformats.org/officeDocument/2006/relationships/image" Target="cid:image003.jpg@01CF6DFE.8D73A1C0" TargetMode="External"/><Relationship Id="rId4" Type="http://schemas.openxmlformats.org/officeDocument/2006/relationships/image" Target="../media/image40.jpe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sv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sv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sv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48.svg"/><Relationship Id="rId4" Type="http://schemas.openxmlformats.org/officeDocument/2006/relationships/image" Target="../media/image47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sv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48.svg"/><Relationship Id="rId4" Type="http://schemas.openxmlformats.org/officeDocument/2006/relationships/image" Target="../media/image47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sv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sv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sv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sv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sv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sv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svg"/><Relationship Id="rId7" Type="http://schemas.openxmlformats.org/officeDocument/2006/relationships/image" Target="../media/image48.svg"/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47.png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sv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48.svg"/><Relationship Id="rId4" Type="http://schemas.openxmlformats.org/officeDocument/2006/relationships/image" Target="../media/image47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sv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48.svg"/><Relationship Id="rId4" Type="http://schemas.openxmlformats.org/officeDocument/2006/relationships/image" Target="../media/image47.png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sv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7" Type="http://schemas.openxmlformats.org/officeDocument/2006/relationships/image" Target="../media/image42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41.jpeg"/><Relationship Id="rId5" Type="http://schemas.openxmlformats.org/officeDocument/2006/relationships/image" Target="cid:image003.jpg@01CF6DFE.8D73A1C0" TargetMode="External"/><Relationship Id="rId4" Type="http://schemas.openxmlformats.org/officeDocument/2006/relationships/image" Target="../media/image40.jpeg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emf"/><Relationship Id="rId13" Type="http://schemas.openxmlformats.org/officeDocument/2006/relationships/image" Target="../media/image3.emf"/><Relationship Id="rId3" Type="http://schemas.openxmlformats.org/officeDocument/2006/relationships/image" Target="../media/image2.emf"/><Relationship Id="rId7" Type="http://schemas.openxmlformats.org/officeDocument/2006/relationships/image" Target="../media/image24.emf"/><Relationship Id="rId12" Type="http://schemas.openxmlformats.org/officeDocument/2006/relationships/image" Target="../media/image29.emf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9.xml"/><Relationship Id="rId6" Type="http://schemas.openxmlformats.org/officeDocument/2006/relationships/image" Target="../media/image23.emf"/><Relationship Id="rId11" Type="http://schemas.openxmlformats.org/officeDocument/2006/relationships/image" Target="../media/image28.emf"/><Relationship Id="rId5" Type="http://schemas.openxmlformats.org/officeDocument/2006/relationships/image" Target="../media/image42.png"/><Relationship Id="rId15" Type="http://schemas.openxmlformats.org/officeDocument/2006/relationships/image" Target="../media/image56.png"/><Relationship Id="rId10" Type="http://schemas.openxmlformats.org/officeDocument/2006/relationships/image" Target="../media/image27.emf"/><Relationship Id="rId4" Type="http://schemas.openxmlformats.org/officeDocument/2006/relationships/image" Target="../media/image21.emf"/><Relationship Id="rId9" Type="http://schemas.openxmlformats.org/officeDocument/2006/relationships/image" Target="../media/image26.emf"/><Relationship Id="rId14" Type="http://schemas.openxmlformats.org/officeDocument/2006/relationships/image" Target="../media/image55.jpe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tiff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2.emf"/><Relationship Id="rId4" Type="http://schemas.openxmlformats.org/officeDocument/2006/relationships/image" Target="../media/image21.emf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7" Type="http://schemas.openxmlformats.org/officeDocument/2006/relationships/image" Target="../media/image42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41.jpeg"/><Relationship Id="rId5" Type="http://schemas.openxmlformats.org/officeDocument/2006/relationships/image" Target="cid:image003.jpg@01CF6DFE.8D73A1C0" TargetMode="External"/><Relationship Id="rId4" Type="http://schemas.openxmlformats.org/officeDocument/2006/relationships/image" Target="../media/image40.jpeg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sv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ĺžnik 35">
            <a:extLst>
              <a:ext uri="{FF2B5EF4-FFF2-40B4-BE49-F238E27FC236}">
                <a16:creationId xmlns:a16="http://schemas.microsoft.com/office/drawing/2014/main" id="{77C63991-1C36-4B8C-B7EC-85B113AC3A08}"/>
              </a:ext>
            </a:extLst>
          </p:cNvPr>
          <p:cNvSpPr/>
          <p:nvPr userDrawn="1"/>
        </p:nvSpPr>
        <p:spPr bwMode="gray">
          <a:xfrm>
            <a:off x="290679" y="1966007"/>
            <a:ext cx="11656519" cy="3962313"/>
          </a:xfrm>
          <a:prstGeom prst="rect">
            <a:avLst/>
          </a:prstGeom>
          <a:solidFill>
            <a:schemeClr val="bg1">
              <a:lumMod val="95000"/>
              <a:alpha val="61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400" b="1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BCD3A8A6-2AA8-43CE-93F7-46D9B185ACF4}"/>
              </a:ext>
            </a:extLst>
          </p:cNvPr>
          <p:cNvSpPr/>
          <p:nvPr userDrawn="1"/>
        </p:nvSpPr>
        <p:spPr bwMode="gray">
          <a:xfrm>
            <a:off x="1168400" y="2367131"/>
            <a:ext cx="9855200" cy="3079599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cs-CZ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E13AD1DC-854F-461A-85CE-261821237239}"/>
              </a:ext>
            </a:extLst>
          </p:cNvPr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/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9E9CBE7C-B46B-4263-B7DA-1846693D9836}"/>
              </a:ext>
            </a:extLst>
          </p:cNvPr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chemeClr val="accent2"/>
              </a:solidFill>
            </a:endParaRP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CFBFCF4F-142E-4CF2-93B7-E6AD72FC5639}"/>
              </a:ext>
            </a:extLst>
          </p:cNvPr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/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5F5E0734-7668-4265-8737-BB10B3A928BB}"/>
              </a:ext>
            </a:extLst>
          </p:cNvPr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chemeClr val="accent2"/>
              </a:solidFill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569EF8DF-41B0-4748-8427-90481B64DC71}"/>
              </a:ext>
            </a:extLst>
          </p:cNvPr>
          <p:cNvSpPr txBox="1"/>
          <p:nvPr userDrawn="1"/>
        </p:nvSpPr>
        <p:spPr>
          <a:xfrm>
            <a:off x="8713002" y="6142934"/>
            <a:ext cx="33773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rgbClr val="3D67BC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rgbClr val="3D67BC"/>
                </a:solidFill>
              </a:rPr>
              <a:t>Institute </a:t>
            </a:r>
            <a:r>
              <a:rPr lang="cs-CZ" sz="900" i="1" dirty="0" err="1">
                <a:solidFill>
                  <a:srgbClr val="3D67BC"/>
                </a:solidFill>
              </a:rPr>
              <a:t>of</a:t>
            </a:r>
            <a:r>
              <a:rPr lang="cs-CZ" sz="900" i="1" dirty="0">
                <a:solidFill>
                  <a:srgbClr val="3D67BC"/>
                </a:solidFill>
              </a:rPr>
              <a:t> </a:t>
            </a:r>
            <a:r>
              <a:rPr lang="cs-CZ" sz="900" i="1" dirty="0" err="1">
                <a:solidFill>
                  <a:srgbClr val="3D67BC"/>
                </a:solidFill>
              </a:rPr>
              <a:t>Health</a:t>
            </a:r>
            <a:r>
              <a:rPr lang="cs-CZ" sz="900" i="1" dirty="0">
                <a:solidFill>
                  <a:srgbClr val="3D67BC"/>
                </a:solidFill>
              </a:rPr>
              <a:t> </a:t>
            </a:r>
            <a:r>
              <a:rPr lang="cs-CZ" sz="900" i="1" dirty="0" err="1">
                <a:solidFill>
                  <a:srgbClr val="3D67BC"/>
                </a:solidFill>
              </a:rPr>
              <a:t>Information</a:t>
            </a:r>
            <a:r>
              <a:rPr lang="cs-CZ" sz="900" i="1" dirty="0">
                <a:solidFill>
                  <a:srgbClr val="3D67BC"/>
                </a:solidFill>
              </a:rPr>
              <a:t> and </a:t>
            </a:r>
            <a:r>
              <a:rPr lang="cs-CZ" sz="900" i="1" dirty="0" err="1">
                <a:solidFill>
                  <a:srgbClr val="3D67BC"/>
                </a:solidFill>
              </a:rPr>
              <a:t>Statistics</a:t>
            </a:r>
            <a:r>
              <a:rPr lang="cs-CZ" sz="900" i="1" dirty="0">
                <a:solidFill>
                  <a:srgbClr val="3D67BC"/>
                </a:solidFill>
              </a:rPr>
              <a:t> </a:t>
            </a:r>
            <a:r>
              <a:rPr lang="cs-CZ" sz="900" i="1" dirty="0" err="1">
                <a:solidFill>
                  <a:srgbClr val="3D67BC"/>
                </a:solidFill>
              </a:rPr>
              <a:t>of</a:t>
            </a:r>
            <a:r>
              <a:rPr lang="cs-CZ" sz="900" i="1" dirty="0">
                <a:solidFill>
                  <a:srgbClr val="3D67BC"/>
                </a:solidFill>
              </a:rPr>
              <a:t> </a:t>
            </a:r>
            <a:r>
              <a:rPr lang="cs-CZ" sz="900" i="1" dirty="0" err="1">
                <a:solidFill>
                  <a:srgbClr val="3D67BC"/>
                </a:solidFill>
              </a:rPr>
              <a:t>the</a:t>
            </a:r>
            <a:r>
              <a:rPr lang="cs-CZ" sz="900" i="1" dirty="0">
                <a:solidFill>
                  <a:srgbClr val="3D67BC"/>
                </a:solidFill>
              </a:rPr>
              <a:t> Czech Republic</a:t>
            </a:r>
          </a:p>
        </p:txBody>
      </p:sp>
      <p:pic>
        <p:nvPicPr>
          <p:cNvPr id="19" name="Obrázek 18">
            <a:extLst>
              <a:ext uri="{FF2B5EF4-FFF2-40B4-BE49-F238E27FC236}">
                <a16:creationId xmlns:a16="http://schemas.microsoft.com/office/drawing/2014/main" id="{68485F3D-5497-49B5-8AFD-B48C5B7D1E32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3890" y="6089199"/>
            <a:ext cx="349247" cy="360000"/>
          </a:xfrm>
          <a:prstGeom prst="rect">
            <a:avLst/>
          </a:prstGeom>
        </p:spPr>
      </p:pic>
      <p:pic>
        <p:nvPicPr>
          <p:cNvPr id="20" name="Obrázek 19">
            <a:extLst>
              <a:ext uri="{FF2B5EF4-FFF2-40B4-BE49-F238E27FC236}">
                <a16:creationId xmlns:a16="http://schemas.microsoft.com/office/drawing/2014/main" id="{638B3C8C-A726-43EE-80E2-A0C80CD5D0F2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000" y="6186252"/>
            <a:ext cx="3763463" cy="324000"/>
          </a:xfrm>
          <a:prstGeom prst="rect">
            <a:avLst/>
          </a:prstGeom>
        </p:spPr>
      </p:pic>
      <p:sp>
        <p:nvSpPr>
          <p:cNvPr id="21" name="Volný tvar 6">
            <a:extLst>
              <a:ext uri="{FF2B5EF4-FFF2-40B4-BE49-F238E27FC236}">
                <a16:creationId xmlns:a16="http://schemas.microsoft.com/office/drawing/2014/main" id="{B1B50602-9BEE-4838-BABB-479E9B9DA990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gradFill flip="none" rotWithShape="1">
            <a:gsLst>
              <a:gs pos="0">
                <a:srgbClr val="AFEBEB"/>
              </a:gs>
              <a:gs pos="77000">
                <a:schemeClr val="bg1">
                  <a:alpha val="25000"/>
                </a:schemeClr>
              </a:gs>
              <a:gs pos="100000">
                <a:schemeClr val="bg1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2" name="Volný tvar 17">
            <a:extLst>
              <a:ext uri="{FF2B5EF4-FFF2-40B4-BE49-F238E27FC236}">
                <a16:creationId xmlns:a16="http://schemas.microsoft.com/office/drawing/2014/main" id="{95BC6203-BD83-4803-AD8B-9671459BFB7C}"/>
              </a:ext>
            </a:extLst>
          </p:cNvPr>
          <p:cNvSpPr/>
          <p:nvPr userDrawn="1"/>
        </p:nvSpPr>
        <p:spPr>
          <a:xfrm rot="10800000">
            <a:off x="-1" y="4380806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gradFill flip="none" rotWithShape="1">
            <a:gsLst>
              <a:gs pos="0">
                <a:srgbClr val="AFEBEB"/>
              </a:gs>
              <a:gs pos="77000">
                <a:schemeClr val="bg1">
                  <a:alpha val="25000"/>
                </a:schemeClr>
              </a:gs>
              <a:gs pos="100000">
                <a:schemeClr val="bg1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3" name="Volný tvar 18">
            <a:extLst>
              <a:ext uri="{FF2B5EF4-FFF2-40B4-BE49-F238E27FC236}">
                <a16:creationId xmlns:a16="http://schemas.microsoft.com/office/drawing/2014/main" id="{9EAB8E8B-17AE-4319-8FA3-A1DAAC330720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33CCCC">
              <a:alpha val="34902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rgbClr val="33CCCC"/>
              </a:solidFill>
            </a:endParaRPr>
          </a:p>
        </p:txBody>
      </p:sp>
      <p:sp>
        <p:nvSpPr>
          <p:cNvPr id="24" name="Volný tvar 19">
            <a:extLst>
              <a:ext uri="{FF2B5EF4-FFF2-40B4-BE49-F238E27FC236}">
                <a16:creationId xmlns:a16="http://schemas.microsoft.com/office/drawing/2014/main" id="{F6EDD091-54FF-47D8-93B0-AFD02A675C6B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424242">
              <a:alpha val="27843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0BD7415F-41C1-49B0-B1E5-81290655E2F9}"/>
              </a:ext>
            </a:extLst>
          </p:cNvPr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/>
          </a:p>
        </p:txBody>
      </p:sp>
      <p:sp>
        <p:nvSpPr>
          <p:cNvPr id="26" name="Obdélník 25">
            <a:extLst>
              <a:ext uri="{FF2B5EF4-FFF2-40B4-BE49-F238E27FC236}">
                <a16:creationId xmlns:a16="http://schemas.microsoft.com/office/drawing/2014/main" id="{8CA2A8DB-6132-49AF-AB7B-13A599EB0EFD}"/>
              </a:ext>
            </a:extLst>
          </p:cNvPr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chemeClr val="accent2"/>
              </a:solidFill>
            </a:endParaRPr>
          </a:p>
        </p:txBody>
      </p:sp>
      <p:sp>
        <p:nvSpPr>
          <p:cNvPr id="27" name="Obdélník 26">
            <a:extLst>
              <a:ext uri="{FF2B5EF4-FFF2-40B4-BE49-F238E27FC236}">
                <a16:creationId xmlns:a16="http://schemas.microsoft.com/office/drawing/2014/main" id="{849DD4F5-BD09-4694-A8D4-C61F8C5F332C}"/>
              </a:ext>
            </a:extLst>
          </p:cNvPr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/>
          </a:p>
        </p:txBody>
      </p:sp>
      <p:sp>
        <p:nvSpPr>
          <p:cNvPr id="28" name="Obdélník 27">
            <a:extLst>
              <a:ext uri="{FF2B5EF4-FFF2-40B4-BE49-F238E27FC236}">
                <a16:creationId xmlns:a16="http://schemas.microsoft.com/office/drawing/2014/main" id="{3047D081-E38A-44AF-9897-78A3A584B7D6}"/>
              </a:ext>
            </a:extLst>
          </p:cNvPr>
          <p:cNvSpPr/>
          <p:nvPr userDrawn="1"/>
        </p:nvSpPr>
        <p:spPr>
          <a:xfrm>
            <a:off x="0" y="5861078"/>
            <a:ext cx="12192000" cy="45719"/>
          </a:xfrm>
          <a:prstGeom prst="rect">
            <a:avLst/>
          </a:prstGeom>
          <a:solidFill>
            <a:srgbClr val="D714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chemeClr val="accent2"/>
              </a:solidFill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8092765-6AFA-495D-B911-346954B65B3F}"/>
              </a:ext>
            </a:extLst>
          </p:cNvPr>
          <p:cNvSpPr txBox="1"/>
          <p:nvPr userDrawn="1"/>
        </p:nvSpPr>
        <p:spPr>
          <a:xfrm>
            <a:off x="8713002" y="6180642"/>
            <a:ext cx="33773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rgbClr val="3D67BC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rgbClr val="3D67BC"/>
                </a:solidFill>
              </a:rPr>
              <a:t>Institute </a:t>
            </a:r>
            <a:r>
              <a:rPr lang="cs-CZ" sz="900" i="1" dirty="0" err="1">
                <a:solidFill>
                  <a:srgbClr val="3D67BC"/>
                </a:solidFill>
              </a:rPr>
              <a:t>of</a:t>
            </a:r>
            <a:r>
              <a:rPr lang="cs-CZ" sz="900" i="1" dirty="0">
                <a:solidFill>
                  <a:srgbClr val="3D67BC"/>
                </a:solidFill>
              </a:rPr>
              <a:t> </a:t>
            </a:r>
            <a:r>
              <a:rPr lang="cs-CZ" sz="900" i="1" dirty="0" err="1">
                <a:solidFill>
                  <a:srgbClr val="3D67BC"/>
                </a:solidFill>
              </a:rPr>
              <a:t>Health</a:t>
            </a:r>
            <a:r>
              <a:rPr lang="cs-CZ" sz="900" i="1" dirty="0">
                <a:solidFill>
                  <a:srgbClr val="3D67BC"/>
                </a:solidFill>
              </a:rPr>
              <a:t> </a:t>
            </a:r>
            <a:r>
              <a:rPr lang="cs-CZ" sz="900" i="1" dirty="0" err="1">
                <a:solidFill>
                  <a:srgbClr val="3D67BC"/>
                </a:solidFill>
              </a:rPr>
              <a:t>Information</a:t>
            </a:r>
            <a:r>
              <a:rPr lang="cs-CZ" sz="900" i="1" dirty="0">
                <a:solidFill>
                  <a:srgbClr val="3D67BC"/>
                </a:solidFill>
              </a:rPr>
              <a:t> and </a:t>
            </a:r>
            <a:r>
              <a:rPr lang="cs-CZ" sz="900" i="1" dirty="0" err="1">
                <a:solidFill>
                  <a:srgbClr val="3D67BC"/>
                </a:solidFill>
              </a:rPr>
              <a:t>Statistics</a:t>
            </a:r>
            <a:r>
              <a:rPr lang="cs-CZ" sz="900" i="1" dirty="0">
                <a:solidFill>
                  <a:srgbClr val="3D67BC"/>
                </a:solidFill>
              </a:rPr>
              <a:t> </a:t>
            </a:r>
            <a:r>
              <a:rPr lang="cs-CZ" sz="900" i="1" dirty="0" err="1">
                <a:solidFill>
                  <a:srgbClr val="3D67BC"/>
                </a:solidFill>
              </a:rPr>
              <a:t>of</a:t>
            </a:r>
            <a:r>
              <a:rPr lang="cs-CZ" sz="900" i="1" dirty="0">
                <a:solidFill>
                  <a:srgbClr val="3D67BC"/>
                </a:solidFill>
              </a:rPr>
              <a:t> </a:t>
            </a:r>
            <a:r>
              <a:rPr lang="cs-CZ" sz="900" i="1" dirty="0" err="1">
                <a:solidFill>
                  <a:srgbClr val="3D67BC"/>
                </a:solidFill>
              </a:rPr>
              <a:t>the</a:t>
            </a:r>
            <a:r>
              <a:rPr lang="cs-CZ" sz="900" i="1" dirty="0">
                <a:solidFill>
                  <a:srgbClr val="3D67BC"/>
                </a:solidFill>
              </a:rPr>
              <a:t> Czech Republic</a:t>
            </a:r>
          </a:p>
        </p:txBody>
      </p:sp>
      <p:pic>
        <p:nvPicPr>
          <p:cNvPr id="30" name="Obrázek 29">
            <a:extLst>
              <a:ext uri="{FF2B5EF4-FFF2-40B4-BE49-F238E27FC236}">
                <a16:creationId xmlns:a16="http://schemas.microsoft.com/office/drawing/2014/main" id="{A17EB16A-C11F-4A98-8AEF-6F68E5443787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3890" y="6126907"/>
            <a:ext cx="349247" cy="360000"/>
          </a:xfrm>
          <a:prstGeom prst="rect">
            <a:avLst/>
          </a:prstGeom>
        </p:spPr>
      </p:pic>
      <p:pic>
        <p:nvPicPr>
          <p:cNvPr id="31" name="Obrázek 30">
            <a:extLst>
              <a:ext uri="{FF2B5EF4-FFF2-40B4-BE49-F238E27FC236}">
                <a16:creationId xmlns:a16="http://schemas.microsoft.com/office/drawing/2014/main" id="{971F6B34-8865-4003-99E1-69418AA2914F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000" y="6186252"/>
            <a:ext cx="3763463" cy="324000"/>
          </a:xfrm>
          <a:prstGeom prst="rect">
            <a:avLst/>
          </a:prstGeom>
        </p:spPr>
      </p:pic>
      <p:sp>
        <p:nvSpPr>
          <p:cNvPr id="32" name="Volný tvar 6">
            <a:extLst>
              <a:ext uri="{FF2B5EF4-FFF2-40B4-BE49-F238E27FC236}">
                <a16:creationId xmlns:a16="http://schemas.microsoft.com/office/drawing/2014/main" id="{93B4AAF2-2ECB-447E-88BF-C2AE1B238485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3" name="Volný tvar 17">
            <a:extLst>
              <a:ext uri="{FF2B5EF4-FFF2-40B4-BE49-F238E27FC236}">
                <a16:creationId xmlns:a16="http://schemas.microsoft.com/office/drawing/2014/main" id="{E5A377F3-758A-43B6-8C6A-4AA4F1E3F233}"/>
              </a:ext>
            </a:extLst>
          </p:cNvPr>
          <p:cNvSpPr/>
          <p:nvPr userDrawn="1"/>
        </p:nvSpPr>
        <p:spPr>
          <a:xfrm rot="10800000">
            <a:off x="-9428" y="4390233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4" name="Volný tvar 18">
            <a:extLst>
              <a:ext uri="{FF2B5EF4-FFF2-40B4-BE49-F238E27FC236}">
                <a16:creationId xmlns:a16="http://schemas.microsoft.com/office/drawing/2014/main" id="{0078E8B8-13CC-47F5-9190-4A050380F041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rgbClr val="33CCCC"/>
              </a:solidFill>
            </a:endParaRPr>
          </a:p>
        </p:txBody>
      </p:sp>
      <p:sp>
        <p:nvSpPr>
          <p:cNvPr id="35" name="Volný tvar 19">
            <a:extLst>
              <a:ext uri="{FF2B5EF4-FFF2-40B4-BE49-F238E27FC236}">
                <a16:creationId xmlns:a16="http://schemas.microsoft.com/office/drawing/2014/main" id="{B1F7AE25-E3A9-4BA4-A917-FFBAB961D9BC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grpSp>
        <p:nvGrpSpPr>
          <p:cNvPr id="36" name="Gruppieren 75">
            <a:extLst>
              <a:ext uri="{FF2B5EF4-FFF2-40B4-BE49-F238E27FC236}">
                <a16:creationId xmlns:a16="http://schemas.microsoft.com/office/drawing/2014/main" id="{FEB03991-7888-41EE-BBCF-E76C296E0BEC}"/>
              </a:ext>
            </a:extLst>
          </p:cNvPr>
          <p:cNvGrpSpPr/>
          <p:nvPr userDrawn="1">
            <p:custDataLst>
              <p:tags r:id="rId1"/>
            </p:custDataLst>
          </p:nvPr>
        </p:nvGrpSpPr>
        <p:grpSpPr bwMode="gray">
          <a:xfrm flipH="1">
            <a:off x="779954" y="4620581"/>
            <a:ext cx="790583" cy="795270"/>
            <a:chOff x="7200292" y="4479962"/>
            <a:chExt cx="270012" cy="270012"/>
          </a:xfrm>
        </p:grpSpPr>
        <p:sp>
          <p:nvSpPr>
            <p:cNvPr id="37" name="Ellipse 77">
              <a:extLst>
                <a:ext uri="{FF2B5EF4-FFF2-40B4-BE49-F238E27FC236}">
                  <a16:creationId xmlns:a16="http://schemas.microsoft.com/office/drawing/2014/main" id="{A038BCF9-6E67-4C17-B618-2FF7977F1F9C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 bwMode="gray">
            <a:xfrm>
              <a:off x="7200292" y="4479962"/>
              <a:ext cx="270012" cy="27001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 dirty="0">
                <a:solidFill>
                  <a:schemeClr val="tx1"/>
                </a:solidFill>
                <a:latin typeface="Insight print" pitchFamily="50" charset="-18"/>
                <a:cs typeface="Arial" pitchFamily="34" charset="0"/>
              </a:endParaRPr>
            </a:p>
          </p:txBody>
        </p:sp>
        <p:sp>
          <p:nvSpPr>
            <p:cNvPr id="38" name="Ellipse 78">
              <a:extLst>
                <a:ext uri="{FF2B5EF4-FFF2-40B4-BE49-F238E27FC236}">
                  <a16:creationId xmlns:a16="http://schemas.microsoft.com/office/drawing/2014/main" id="{06AAD133-2C4A-4D8C-B689-945EFFDD1F76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 bwMode="gray">
            <a:xfrm>
              <a:off x="7222793" y="4502463"/>
              <a:ext cx="225010" cy="22501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 dirty="0">
                <a:solidFill>
                  <a:schemeClr val="tx1"/>
                </a:solidFill>
                <a:latin typeface="Insight print" pitchFamily="50" charset="-18"/>
                <a:cs typeface="Arial" pitchFamily="34" charset="0"/>
              </a:endParaRPr>
            </a:p>
          </p:txBody>
        </p:sp>
      </p:grpSp>
      <p:sp>
        <p:nvSpPr>
          <p:cNvPr id="39" name="Ellipse 67">
            <a:extLst>
              <a:ext uri="{FF2B5EF4-FFF2-40B4-BE49-F238E27FC236}">
                <a16:creationId xmlns:a16="http://schemas.microsoft.com/office/drawing/2014/main" id="{CA3C4B6F-3A42-4205-B124-83DA99E41196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 flipH="1">
            <a:off x="801350" y="3478151"/>
            <a:ext cx="790583" cy="795270"/>
          </a:xfrm>
          <a:prstGeom prst="ellipse">
            <a:avLst/>
          </a:prstGeom>
          <a:solidFill>
            <a:schemeClr val="bg1"/>
          </a:solidFill>
          <a:ln w="9525">
            <a:solidFill>
              <a:srgbClr val="D714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Insight print" pitchFamily="50" charset="-18"/>
              <a:cs typeface="Arial" pitchFamily="34" charset="0"/>
            </a:endParaRPr>
          </a:p>
        </p:txBody>
      </p:sp>
      <p:sp>
        <p:nvSpPr>
          <p:cNvPr id="40" name="Ellipse 68">
            <a:extLst>
              <a:ext uri="{FF2B5EF4-FFF2-40B4-BE49-F238E27FC236}">
                <a16:creationId xmlns:a16="http://schemas.microsoft.com/office/drawing/2014/main" id="{349CD9E3-2D2C-4CDB-A108-EFCC172093DA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 flipH="1">
            <a:off x="867232" y="3544424"/>
            <a:ext cx="658819" cy="662725"/>
          </a:xfrm>
          <a:prstGeom prst="ellipse">
            <a:avLst/>
          </a:prstGeom>
          <a:solidFill>
            <a:srgbClr val="D7144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Insight print" pitchFamily="50" charset="-18"/>
              <a:cs typeface="Arial" pitchFamily="34" charset="0"/>
            </a:endParaRPr>
          </a:p>
        </p:txBody>
      </p:sp>
      <p:sp>
        <p:nvSpPr>
          <p:cNvPr id="41" name="Ellipse 29">
            <a:extLst>
              <a:ext uri="{FF2B5EF4-FFF2-40B4-BE49-F238E27FC236}">
                <a16:creationId xmlns:a16="http://schemas.microsoft.com/office/drawing/2014/main" id="{17C30107-F6FE-40FB-A1B6-02602737583E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791921" y="2337796"/>
            <a:ext cx="790583" cy="795270"/>
          </a:xfrm>
          <a:prstGeom prst="ellipse">
            <a:avLst/>
          </a:prstGeom>
          <a:solidFill>
            <a:schemeClr val="bg1"/>
          </a:solidFill>
          <a:ln w="9525">
            <a:solidFill>
              <a:srgbClr val="2E5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Insight print" pitchFamily="50" charset="-18"/>
              <a:cs typeface="Arial" pitchFamily="34" charset="0"/>
            </a:endParaRPr>
          </a:p>
        </p:txBody>
      </p:sp>
      <p:sp>
        <p:nvSpPr>
          <p:cNvPr id="42" name="Ellipse 30">
            <a:extLst>
              <a:ext uri="{FF2B5EF4-FFF2-40B4-BE49-F238E27FC236}">
                <a16:creationId xmlns:a16="http://schemas.microsoft.com/office/drawing/2014/main" id="{07FB372D-2E48-46D8-8BE1-30272757DC04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gray">
          <a:xfrm>
            <a:off x="857803" y="2404069"/>
            <a:ext cx="658819" cy="662725"/>
          </a:xfrm>
          <a:prstGeom prst="ellipse">
            <a:avLst/>
          </a:prstGeom>
          <a:solidFill>
            <a:srgbClr val="2E59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Insight print" pitchFamily="50" charset="-18"/>
              <a:cs typeface="Arial" pitchFamily="34" charset="0"/>
            </a:endParaRPr>
          </a:p>
        </p:txBody>
      </p:sp>
      <p:pic>
        <p:nvPicPr>
          <p:cNvPr id="43" name="Picture 24">
            <a:extLst>
              <a:ext uri="{FF2B5EF4-FFF2-40B4-BE49-F238E27FC236}">
                <a16:creationId xmlns:a16="http://schemas.microsoft.com/office/drawing/2014/main" id="{8DDB3CFF-29A2-4CA1-A058-9AAF18FC161E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1340046" y="1342772"/>
            <a:ext cx="592937" cy="3976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4" name="Ellipse 34">
            <a:extLst>
              <a:ext uri="{FF2B5EF4-FFF2-40B4-BE49-F238E27FC236}">
                <a16:creationId xmlns:a16="http://schemas.microsoft.com/office/drawing/2014/main" id="{12C3E14D-943B-4C7F-BC2E-D39908F29221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gray">
          <a:xfrm>
            <a:off x="10617916" y="3507953"/>
            <a:ext cx="790583" cy="795270"/>
          </a:xfrm>
          <a:prstGeom prst="ellipse">
            <a:avLst/>
          </a:prstGeom>
          <a:solidFill>
            <a:schemeClr val="bg1"/>
          </a:solidFill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Insight print" pitchFamily="50" charset="-18"/>
              <a:cs typeface="Arial" pitchFamily="34" charset="0"/>
            </a:endParaRPr>
          </a:p>
        </p:txBody>
      </p:sp>
      <p:sp>
        <p:nvSpPr>
          <p:cNvPr id="45" name="Ellipse 35">
            <a:extLst>
              <a:ext uri="{FF2B5EF4-FFF2-40B4-BE49-F238E27FC236}">
                <a16:creationId xmlns:a16="http://schemas.microsoft.com/office/drawing/2014/main" id="{1C5371BA-8CF1-402D-B0A3-CE53E6902BCB}"/>
              </a:ext>
            </a:extLst>
          </p:cNvPr>
          <p:cNvSpPr/>
          <p:nvPr userDrawn="1">
            <p:custDataLst>
              <p:tags r:id="rId8"/>
            </p:custDataLst>
          </p:nvPr>
        </p:nvSpPr>
        <p:spPr bwMode="gray">
          <a:xfrm>
            <a:off x="10683798" y="3574226"/>
            <a:ext cx="658819" cy="662725"/>
          </a:xfrm>
          <a:prstGeom prst="ellipse">
            <a:avLst/>
          </a:prstGeom>
          <a:solidFill>
            <a:srgbClr val="D7144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Insight print" pitchFamily="50" charset="-18"/>
              <a:cs typeface="Arial" pitchFamily="34" charset="0"/>
            </a:endParaRPr>
          </a:p>
        </p:txBody>
      </p:sp>
      <p:sp>
        <p:nvSpPr>
          <p:cNvPr id="46" name="Ellipse 39">
            <a:extLst>
              <a:ext uri="{FF2B5EF4-FFF2-40B4-BE49-F238E27FC236}">
                <a16:creationId xmlns:a16="http://schemas.microsoft.com/office/drawing/2014/main" id="{BF411CC2-024E-4C6F-9679-3DA7C4ECF70D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gray">
          <a:xfrm>
            <a:off x="10637477" y="4612334"/>
            <a:ext cx="790583" cy="795270"/>
          </a:xfrm>
          <a:prstGeom prst="ellipse">
            <a:avLst/>
          </a:prstGeom>
          <a:solidFill>
            <a:schemeClr val="bg1"/>
          </a:solidFill>
          <a:ln w="9525">
            <a:solidFill>
              <a:srgbClr val="2E5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Insight print" pitchFamily="50" charset="-18"/>
              <a:cs typeface="Arial" pitchFamily="34" charset="0"/>
            </a:endParaRPr>
          </a:p>
        </p:txBody>
      </p:sp>
      <p:sp>
        <p:nvSpPr>
          <p:cNvPr id="47" name="Ellipse 40">
            <a:extLst>
              <a:ext uri="{FF2B5EF4-FFF2-40B4-BE49-F238E27FC236}">
                <a16:creationId xmlns:a16="http://schemas.microsoft.com/office/drawing/2014/main" id="{C3B40183-33D1-4372-8D28-78EBBA53D69F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gray">
          <a:xfrm>
            <a:off x="10703359" y="4678607"/>
            <a:ext cx="658819" cy="662725"/>
          </a:xfrm>
          <a:prstGeom prst="ellipse">
            <a:avLst/>
          </a:prstGeom>
          <a:solidFill>
            <a:srgbClr val="2E59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Insight print" pitchFamily="50" charset="-18"/>
              <a:cs typeface="Arial" pitchFamily="34" charset="0"/>
            </a:endParaRPr>
          </a:p>
        </p:txBody>
      </p:sp>
      <p:grpSp>
        <p:nvGrpSpPr>
          <p:cNvPr id="48" name="Gruppieren 75">
            <a:extLst>
              <a:ext uri="{FF2B5EF4-FFF2-40B4-BE49-F238E27FC236}">
                <a16:creationId xmlns:a16="http://schemas.microsoft.com/office/drawing/2014/main" id="{BD42FE8E-2CAD-4BA1-BD71-9427E0F886CA}"/>
              </a:ext>
            </a:extLst>
          </p:cNvPr>
          <p:cNvGrpSpPr>
            <a:grpSpLocks noChangeAspect="1"/>
          </p:cNvGrpSpPr>
          <p:nvPr userDrawn="1">
            <p:custDataLst>
              <p:tags r:id="rId11"/>
            </p:custDataLst>
          </p:nvPr>
        </p:nvGrpSpPr>
        <p:grpSpPr bwMode="gray">
          <a:xfrm flipH="1">
            <a:off x="10603175" y="2346043"/>
            <a:ext cx="790583" cy="795270"/>
            <a:chOff x="7200292" y="4479962"/>
            <a:chExt cx="270012" cy="270012"/>
          </a:xfrm>
        </p:grpSpPr>
        <p:sp>
          <p:nvSpPr>
            <p:cNvPr id="49" name="Ellipse 77">
              <a:extLst>
                <a:ext uri="{FF2B5EF4-FFF2-40B4-BE49-F238E27FC236}">
                  <a16:creationId xmlns:a16="http://schemas.microsoft.com/office/drawing/2014/main" id="{C7E50F92-EBA7-4DB9-BFA6-8B14CF520BB6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 bwMode="gray">
            <a:xfrm>
              <a:off x="7200292" y="4479962"/>
              <a:ext cx="270012" cy="27001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 dirty="0">
                <a:solidFill>
                  <a:schemeClr val="tx1"/>
                </a:solidFill>
                <a:latin typeface="Insight print" pitchFamily="50" charset="-18"/>
                <a:cs typeface="Arial" pitchFamily="34" charset="0"/>
              </a:endParaRPr>
            </a:p>
          </p:txBody>
        </p:sp>
        <p:sp>
          <p:nvSpPr>
            <p:cNvPr id="50" name="Ellipse 78">
              <a:extLst>
                <a:ext uri="{FF2B5EF4-FFF2-40B4-BE49-F238E27FC236}">
                  <a16:creationId xmlns:a16="http://schemas.microsoft.com/office/drawing/2014/main" id="{5750DDE0-5F53-4A09-9F2F-D567ABBBAA74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 bwMode="gray">
            <a:xfrm>
              <a:off x="7222793" y="4502463"/>
              <a:ext cx="225010" cy="22501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 dirty="0">
                <a:solidFill>
                  <a:schemeClr val="tx1"/>
                </a:solidFill>
                <a:latin typeface="Insight print" pitchFamily="50" charset="-18"/>
                <a:cs typeface="Arial" pitchFamily="34" charset="0"/>
              </a:endParaRPr>
            </a:p>
          </p:txBody>
        </p:sp>
      </p:grpSp>
      <p:pic>
        <p:nvPicPr>
          <p:cNvPr id="51" name="Obrázek 50">
            <a:extLst>
              <a:ext uri="{FF2B5EF4-FFF2-40B4-BE49-F238E27FC236}">
                <a16:creationId xmlns:a16="http://schemas.microsoft.com/office/drawing/2014/main" id="{1DC00054-3DB3-41FD-A7EE-3ADA73DB3B74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8322" y="3647980"/>
            <a:ext cx="490302" cy="551375"/>
          </a:xfrm>
          <a:prstGeom prst="rect">
            <a:avLst/>
          </a:prstGeom>
        </p:spPr>
      </p:pic>
      <p:pic>
        <p:nvPicPr>
          <p:cNvPr id="52" name="Obrázek 51">
            <a:extLst>
              <a:ext uri="{FF2B5EF4-FFF2-40B4-BE49-F238E27FC236}">
                <a16:creationId xmlns:a16="http://schemas.microsoft.com/office/drawing/2014/main" id="{8EC3BA2A-7985-48D3-BA6E-67AA7377C50E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9755" y="2498419"/>
            <a:ext cx="458486" cy="447824"/>
          </a:xfrm>
          <a:prstGeom prst="rect">
            <a:avLst/>
          </a:prstGeom>
        </p:spPr>
      </p:pic>
      <p:pic>
        <p:nvPicPr>
          <p:cNvPr id="53" name="Obrázek 52">
            <a:extLst>
              <a:ext uri="{FF2B5EF4-FFF2-40B4-BE49-F238E27FC236}">
                <a16:creationId xmlns:a16="http://schemas.microsoft.com/office/drawing/2014/main" id="{F6EF85F8-43B5-4226-97F7-B4B53B5669E5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7162" y="4803145"/>
            <a:ext cx="522414" cy="450302"/>
          </a:xfrm>
          <a:prstGeom prst="rect">
            <a:avLst/>
          </a:prstGeom>
        </p:spPr>
      </p:pic>
      <p:pic>
        <p:nvPicPr>
          <p:cNvPr id="55" name="Obrázek 54">
            <a:extLst>
              <a:ext uri="{FF2B5EF4-FFF2-40B4-BE49-F238E27FC236}">
                <a16:creationId xmlns:a16="http://schemas.microsoft.com/office/drawing/2014/main" id="{0B54BD79-F98C-4442-B611-C96436589AC7}"/>
              </a:ext>
            </a:extLst>
          </p:cNvPr>
          <p:cNvPicPr>
            <a:picLocks/>
          </p:cNvPicPr>
          <p:nvPr userDrawn="1"/>
        </p:nvPicPr>
        <p:blipFill rotWithShape="1">
          <a:blip r:embed="rId2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-1" r="-498" b="5127"/>
          <a:stretch/>
        </p:blipFill>
        <p:spPr>
          <a:xfrm>
            <a:off x="3683224" y="3954975"/>
            <a:ext cx="1479600" cy="13788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7" name="Obrázek 56">
            <a:extLst>
              <a:ext uri="{FF2B5EF4-FFF2-40B4-BE49-F238E27FC236}">
                <a16:creationId xmlns:a16="http://schemas.microsoft.com/office/drawing/2014/main" id="{147F9523-C930-4F9E-B11C-414869DBE5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364" b="3251"/>
          <a:stretch/>
        </p:blipFill>
        <p:spPr>
          <a:xfrm>
            <a:off x="6825526" y="3940748"/>
            <a:ext cx="1480450" cy="13785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8" name="Obdélník 57">
            <a:extLst>
              <a:ext uri="{FF2B5EF4-FFF2-40B4-BE49-F238E27FC236}">
                <a16:creationId xmlns:a16="http://schemas.microsoft.com/office/drawing/2014/main" id="{C31E3D77-5C91-465B-A370-454C27AA3086}"/>
              </a:ext>
            </a:extLst>
          </p:cNvPr>
          <p:cNvSpPr/>
          <p:nvPr userDrawn="1"/>
        </p:nvSpPr>
        <p:spPr>
          <a:xfrm>
            <a:off x="660273" y="273094"/>
            <a:ext cx="6871743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3600" b="1" dirty="0">
                <a:solidFill>
                  <a:srgbClr val="2E5980"/>
                </a:solidFill>
              </a:rPr>
              <a:t>STRATEGICKÝ RÁMEC </a:t>
            </a:r>
          </a:p>
          <a:p>
            <a:r>
              <a:rPr lang="cs-CZ" sz="3600" b="1" dirty="0">
                <a:solidFill>
                  <a:srgbClr val="2E5980"/>
                </a:solidFill>
              </a:rPr>
              <a:t>ROZVOJE PÉČE O ZDRAVÍ</a:t>
            </a:r>
          </a:p>
          <a:p>
            <a:r>
              <a:rPr lang="cs-CZ" sz="3600" b="1" dirty="0">
                <a:solidFill>
                  <a:srgbClr val="2E5980"/>
                </a:solidFill>
              </a:rPr>
              <a:t>V ČESKÉ REPUBLICE DO ROKU 2030</a:t>
            </a:r>
          </a:p>
        </p:txBody>
      </p:sp>
      <p:sp>
        <p:nvSpPr>
          <p:cNvPr id="59" name="Obdélník 58">
            <a:extLst>
              <a:ext uri="{FF2B5EF4-FFF2-40B4-BE49-F238E27FC236}">
                <a16:creationId xmlns:a16="http://schemas.microsoft.com/office/drawing/2014/main" id="{09B596B8-099A-443E-BAF4-60E9B64C466A}"/>
              </a:ext>
            </a:extLst>
          </p:cNvPr>
          <p:cNvSpPr/>
          <p:nvPr userDrawn="1"/>
        </p:nvSpPr>
        <p:spPr>
          <a:xfrm>
            <a:off x="403654" y="5807676"/>
            <a:ext cx="6223389" cy="2718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60" name="Zástupný symbol textu 4">
            <a:extLst>
              <a:ext uri="{FF2B5EF4-FFF2-40B4-BE49-F238E27FC236}">
                <a16:creationId xmlns:a16="http://schemas.microsoft.com/office/drawing/2014/main" id="{71478611-DE5F-4F95-89E9-326EBE713181}"/>
              </a:ext>
            </a:extLst>
          </p:cNvPr>
          <p:cNvSpPr txBox="1">
            <a:spLocks/>
          </p:cNvSpPr>
          <p:nvPr userDrawn="1"/>
        </p:nvSpPr>
        <p:spPr>
          <a:xfrm>
            <a:off x="531544" y="5607609"/>
            <a:ext cx="7707659" cy="50725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s-CZ" dirty="0">
                <a:solidFill>
                  <a:srgbClr val="D71440"/>
                </a:solidFill>
              </a:rPr>
              <a:t>„ZDRAVÍ 2030“– analytická studie </a:t>
            </a:r>
          </a:p>
        </p:txBody>
      </p:sp>
      <p:pic>
        <p:nvPicPr>
          <p:cNvPr id="61" name="Obrázek 60">
            <a:extLst>
              <a:ext uri="{FF2B5EF4-FFF2-40B4-BE49-F238E27FC236}">
                <a16:creationId xmlns:a16="http://schemas.microsoft.com/office/drawing/2014/main" id="{3B935A30-5D56-48CA-8450-EB27F6ED93FC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636" y="2442291"/>
            <a:ext cx="479357" cy="552162"/>
          </a:xfrm>
          <a:prstGeom prst="rect">
            <a:avLst/>
          </a:prstGeom>
        </p:spPr>
      </p:pic>
      <p:pic>
        <p:nvPicPr>
          <p:cNvPr id="62" name="Obrázek 61">
            <a:extLst>
              <a:ext uri="{FF2B5EF4-FFF2-40B4-BE49-F238E27FC236}">
                <a16:creationId xmlns:a16="http://schemas.microsoft.com/office/drawing/2014/main" id="{53D68643-EE8B-4872-9E6F-0D6B847F8EC8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480" y="3631722"/>
            <a:ext cx="651346" cy="488509"/>
          </a:xfrm>
          <a:prstGeom prst="rect">
            <a:avLst/>
          </a:prstGeom>
        </p:spPr>
      </p:pic>
      <p:pic>
        <p:nvPicPr>
          <p:cNvPr id="63" name="Obrázek 62">
            <a:extLst>
              <a:ext uri="{FF2B5EF4-FFF2-40B4-BE49-F238E27FC236}">
                <a16:creationId xmlns:a16="http://schemas.microsoft.com/office/drawing/2014/main" id="{F7271DED-10A1-436D-83D6-0B0CC9A226C9}"/>
              </a:ext>
            </a:extLst>
          </p:cNvPr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134" y="4801873"/>
            <a:ext cx="538265" cy="414707"/>
          </a:xfrm>
          <a:prstGeom prst="rect">
            <a:avLst/>
          </a:prstGeom>
        </p:spPr>
      </p:pic>
      <p:pic>
        <p:nvPicPr>
          <p:cNvPr id="70" name="Obrázek 69">
            <a:extLst>
              <a:ext uri="{FF2B5EF4-FFF2-40B4-BE49-F238E27FC236}">
                <a16:creationId xmlns:a16="http://schemas.microsoft.com/office/drawing/2014/main" id="{A66F2984-85DA-4DF3-BF00-6A55C356BA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8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45" r="19922"/>
          <a:stretch/>
        </p:blipFill>
        <p:spPr>
          <a:xfrm>
            <a:off x="8324477" y="2441121"/>
            <a:ext cx="1553715" cy="128972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Obrázek 4">
            <a:extLst>
              <a:ext uri="{FF2B5EF4-FFF2-40B4-BE49-F238E27FC236}">
                <a16:creationId xmlns:a16="http://schemas.microsoft.com/office/drawing/2014/main" id="{A3D6E3A3-E17E-486F-BD43-5B2286912756}"/>
              </a:ext>
            </a:extLst>
          </p:cNvPr>
          <p:cNvPicPr>
            <a:picLocks noChangeAspect="1"/>
          </p:cNvPicPr>
          <p:nvPr userDrawn="1"/>
        </p:nvPicPr>
        <p:blipFill>
          <a:blip r:embed="rId29"/>
          <a:stretch>
            <a:fillRect/>
          </a:stretch>
        </p:blipFill>
        <p:spPr>
          <a:xfrm>
            <a:off x="5093603" y="4215684"/>
            <a:ext cx="1664352" cy="1018120"/>
          </a:xfrm>
          <a:prstGeom prst="rect">
            <a:avLst/>
          </a:prstGeom>
        </p:spPr>
      </p:pic>
      <p:pic>
        <p:nvPicPr>
          <p:cNvPr id="75" name="Obrázek 74">
            <a:extLst>
              <a:ext uri="{FF2B5EF4-FFF2-40B4-BE49-F238E27FC236}">
                <a16:creationId xmlns:a16="http://schemas.microsoft.com/office/drawing/2014/main" id="{711B8F04-1891-4C8F-9018-EDF49E74DBA0}"/>
              </a:ext>
            </a:extLst>
          </p:cNvPr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8414745" y="3930888"/>
            <a:ext cx="1438781" cy="1359526"/>
          </a:xfrm>
          <a:prstGeom prst="rect">
            <a:avLst/>
          </a:prstGeom>
        </p:spPr>
      </p:pic>
      <p:pic>
        <p:nvPicPr>
          <p:cNvPr id="76" name="Obrázek 75">
            <a:extLst>
              <a:ext uri="{FF2B5EF4-FFF2-40B4-BE49-F238E27FC236}">
                <a16:creationId xmlns:a16="http://schemas.microsoft.com/office/drawing/2014/main" id="{D3953AC1-920D-4DFB-BFBD-04DF21878E55}"/>
              </a:ext>
            </a:extLst>
          </p:cNvPr>
          <p:cNvPicPr>
            <a:picLocks noChangeAspect="1"/>
          </p:cNvPicPr>
          <p:nvPr userDrawn="1"/>
        </p:nvPicPr>
        <p:blipFill>
          <a:blip r:embed="rId31"/>
          <a:stretch>
            <a:fillRect/>
          </a:stretch>
        </p:blipFill>
        <p:spPr>
          <a:xfrm>
            <a:off x="6653744" y="2627666"/>
            <a:ext cx="1694835" cy="1182727"/>
          </a:xfrm>
          <a:prstGeom prst="rect">
            <a:avLst/>
          </a:prstGeom>
        </p:spPr>
      </p:pic>
      <p:pic>
        <p:nvPicPr>
          <p:cNvPr id="77" name="Obrázek 76">
            <a:extLst>
              <a:ext uri="{FF2B5EF4-FFF2-40B4-BE49-F238E27FC236}">
                <a16:creationId xmlns:a16="http://schemas.microsoft.com/office/drawing/2014/main" id="{8794012B-F980-44DD-B86C-1515D4C05064}"/>
              </a:ext>
            </a:extLst>
          </p:cNvPr>
          <p:cNvPicPr>
            <a:picLocks noChangeAspect="1"/>
          </p:cNvPicPr>
          <p:nvPr userDrawn="1"/>
        </p:nvPicPr>
        <p:blipFill>
          <a:blip r:embed="rId32"/>
          <a:stretch>
            <a:fillRect/>
          </a:stretch>
        </p:blipFill>
        <p:spPr>
          <a:xfrm>
            <a:off x="3478284" y="2337796"/>
            <a:ext cx="1493649" cy="1481456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71134B20-F339-42F5-89D8-C171F690980A}"/>
              </a:ext>
            </a:extLst>
          </p:cNvPr>
          <p:cNvPicPr>
            <a:picLocks noChangeAspect="1"/>
          </p:cNvPicPr>
          <p:nvPr userDrawn="1"/>
        </p:nvPicPr>
        <p:blipFill>
          <a:blip r:embed="rId33"/>
          <a:stretch>
            <a:fillRect/>
          </a:stretch>
        </p:blipFill>
        <p:spPr>
          <a:xfrm>
            <a:off x="2115772" y="3747992"/>
            <a:ext cx="1530229" cy="1542422"/>
          </a:xfrm>
          <a:prstGeom prst="rect">
            <a:avLst/>
          </a:prstGeom>
        </p:spPr>
      </p:pic>
      <p:pic>
        <p:nvPicPr>
          <p:cNvPr id="9" name="Obrázek 8">
            <a:extLst>
              <a:ext uri="{FF2B5EF4-FFF2-40B4-BE49-F238E27FC236}">
                <a16:creationId xmlns:a16="http://schemas.microsoft.com/office/drawing/2014/main" id="{7CD66974-BABE-4DBD-8684-C7E76AE508A6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BEBA8EAE-BF5A-486C-A8C5-ECC9F3942E4B}">
                <a14:imgProps xmlns:a14="http://schemas.microsoft.com/office/drawing/2010/main">
                  <a14:imgLayer r:embed="rId35">
                    <a14:imgEffect>
                      <a14:saturation sat="2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101597" y="2431937"/>
            <a:ext cx="1261981" cy="1432684"/>
          </a:xfrm>
          <a:prstGeom prst="rect">
            <a:avLst/>
          </a:prstGeom>
        </p:spPr>
      </p:pic>
      <p:pic>
        <p:nvPicPr>
          <p:cNvPr id="11" name="Obrázek 10">
            <a:extLst>
              <a:ext uri="{FF2B5EF4-FFF2-40B4-BE49-F238E27FC236}">
                <a16:creationId xmlns:a16="http://schemas.microsoft.com/office/drawing/2014/main" id="{389AF4A0-1174-4BF6-AA8B-0E7E8453BFAB}"/>
              </a:ext>
            </a:extLst>
          </p:cNvPr>
          <p:cNvPicPr>
            <a:picLocks noChangeAspect="1"/>
          </p:cNvPicPr>
          <p:nvPr userDrawn="1"/>
        </p:nvPicPr>
        <p:blipFill>
          <a:blip r:embed="rId36"/>
          <a:stretch>
            <a:fillRect/>
          </a:stretch>
        </p:blipFill>
        <p:spPr>
          <a:xfrm>
            <a:off x="5181678" y="2489324"/>
            <a:ext cx="1389190" cy="1421348"/>
          </a:xfrm>
          <a:prstGeom prst="rect">
            <a:avLst/>
          </a:prstGeom>
        </p:spPr>
      </p:pic>
      <p:pic>
        <p:nvPicPr>
          <p:cNvPr id="56" name="Obrázek 55">
            <a:extLst>
              <a:ext uri="{FF2B5EF4-FFF2-40B4-BE49-F238E27FC236}">
                <a16:creationId xmlns:a16="http://schemas.microsoft.com/office/drawing/2014/main" id="{0A1DE29E-88CB-497C-91CC-CCC15408BA6E}"/>
              </a:ext>
            </a:extLst>
          </p:cNvPr>
          <p:cNvPicPr>
            <a:picLocks noChangeAspect="1"/>
          </p:cNvPicPr>
          <p:nvPr userDrawn="1"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0701" y="1259484"/>
            <a:ext cx="574173" cy="574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6210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DFA5735-804B-45C0-8504-7D4A1DBDB0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8082B13D-580C-4CAB-99F6-79CAC18772A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 dirty="0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1F178461-1F4A-4C7B-88AE-967881315BE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3422DF14-BE8E-4A02-9D11-63C36FA0C5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4C4EA-BBB6-4509-82FD-6C1C4C05004B}" type="datetimeFigureOut">
              <a:rPr lang="cs-CZ" smtClean="0"/>
              <a:t>24.10.2023</a:t>
            </a:fld>
            <a:endParaRPr lang="cs-CZ" dirty="0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C12F900-709B-461F-89C4-4DB2F65D6A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2943DD0-1809-47E6-9E2B-CA62A197F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BA2347-4413-44E4-972F-4B947EE9AB0F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8892434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91EB16E-9BD2-427F-9E7C-2BF9D04540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750334F-1265-45E9-9E82-606C1D9D9AE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F9C804F8-3081-4F12-BF3A-C9F2142D99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4C4EA-BBB6-4509-82FD-6C1C4C05004B}" type="datetimeFigureOut">
              <a:rPr lang="cs-CZ" smtClean="0"/>
              <a:t>24.10.2023</a:t>
            </a:fld>
            <a:endParaRPr lang="cs-CZ" dirty="0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64879D0-9F7A-42A5-9F3A-9CE3798ECC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B77D64B-5826-4CB7-9638-91CF91CE29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BA2347-4413-44E4-972F-4B947EE9AB0F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7493817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F3A8C88C-8CD0-4995-80AA-8E66CF729D0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E0B86FD5-6EC9-4E89-A633-5C9096B495B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078AF13-1B8F-49C4-A06B-7CAD375856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4C4EA-BBB6-4509-82FD-6C1C4C05004B}" type="datetimeFigureOut">
              <a:rPr lang="cs-CZ" smtClean="0"/>
              <a:t>24.10.2023</a:t>
            </a:fld>
            <a:endParaRPr lang="cs-CZ" dirty="0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A281CBC-035B-4035-BDEC-4CDAB7107C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F650DD0-4EAF-45EC-9C28-52361ECFFB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BA2347-4413-44E4-972F-4B947EE9AB0F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0418365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zadi seda">
            <a:extLst>
              <a:ext uri="{FF2B5EF4-FFF2-40B4-BE49-F238E27FC236}">
                <a16:creationId xmlns:a16="http://schemas.microsoft.com/office/drawing/2014/main" id="{C6DB6EA3-D18B-4247-B7E0-D3F0ED4ABC66}"/>
              </a:ext>
            </a:extLst>
          </p:cNvPr>
          <p:cNvSpPr/>
          <p:nvPr userDrawn="1"/>
        </p:nvSpPr>
        <p:spPr bwMode="gray">
          <a:xfrm>
            <a:off x="0" y="1899462"/>
            <a:ext cx="12192000" cy="4028858"/>
          </a:xfrm>
          <a:prstGeom prst="rect">
            <a:avLst/>
          </a:prstGeom>
          <a:solidFill>
            <a:schemeClr val="bg1">
              <a:lumMod val="95000"/>
              <a:alpha val="61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400" b="1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2" name="Linka cervena">
            <a:extLst>
              <a:ext uri="{FF2B5EF4-FFF2-40B4-BE49-F238E27FC236}">
                <a16:creationId xmlns:a16="http://schemas.microsoft.com/office/drawing/2014/main" id="{B9205121-7638-4ABD-95F5-177B33D17428}"/>
              </a:ext>
            </a:extLst>
          </p:cNvPr>
          <p:cNvSpPr/>
          <p:nvPr userDrawn="1"/>
        </p:nvSpPr>
        <p:spPr>
          <a:xfrm flipV="1">
            <a:off x="5552" y="5881971"/>
            <a:ext cx="12173011" cy="36000"/>
          </a:xfrm>
          <a:prstGeom prst="rect">
            <a:avLst/>
          </a:prstGeom>
          <a:solidFill>
            <a:srgbClr val="D71440"/>
          </a:solidFill>
          <a:ln>
            <a:solidFill>
              <a:srgbClr val="D714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8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805" y="6275298"/>
            <a:ext cx="3763463" cy="324000"/>
          </a:xfrm>
          <a:prstGeom prst="rect">
            <a:avLst/>
          </a:prstGeom>
        </p:spPr>
      </p:pic>
      <p:pic>
        <p:nvPicPr>
          <p:cNvPr id="6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9537" y="6124324"/>
            <a:ext cx="822458" cy="540000"/>
          </a:xfrm>
          <a:prstGeom prst="rect">
            <a:avLst/>
          </a:prstGeom>
        </p:spPr>
      </p:pic>
      <p:pic>
        <p:nvPicPr>
          <p:cNvPr id="11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113" y="2607870"/>
            <a:ext cx="5715760" cy="2224771"/>
          </a:xfrm>
          <a:prstGeom prst="rect">
            <a:avLst/>
          </a:prstGeom>
        </p:spPr>
      </p:pic>
      <p:pic>
        <p:nvPicPr>
          <p:cNvPr id="61" name="Ikona 7">
            <a:extLst>
              <a:ext uri="{FF2B5EF4-FFF2-40B4-BE49-F238E27FC236}">
                <a16:creationId xmlns:a16="http://schemas.microsoft.com/office/drawing/2014/main" id="{1E522FD7-51BC-4B8E-A68D-8A0B5E4169E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5605" y="3727037"/>
            <a:ext cx="791389" cy="792000"/>
          </a:xfrm>
          <a:prstGeom prst="rect">
            <a:avLst/>
          </a:prstGeom>
        </p:spPr>
      </p:pic>
      <p:pic>
        <p:nvPicPr>
          <p:cNvPr id="62" name="Ikona 6">
            <a:extLst>
              <a:ext uri="{FF2B5EF4-FFF2-40B4-BE49-F238E27FC236}">
                <a16:creationId xmlns:a16="http://schemas.microsoft.com/office/drawing/2014/main" id="{E01AA11B-D042-44CE-8E91-BAD234FB490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5916" y="2819547"/>
            <a:ext cx="791389" cy="792000"/>
          </a:xfrm>
          <a:prstGeom prst="rect">
            <a:avLst/>
          </a:prstGeom>
        </p:spPr>
      </p:pic>
      <p:pic>
        <p:nvPicPr>
          <p:cNvPr id="63" name="Ikona 5">
            <a:extLst>
              <a:ext uri="{FF2B5EF4-FFF2-40B4-BE49-F238E27FC236}">
                <a16:creationId xmlns:a16="http://schemas.microsoft.com/office/drawing/2014/main" id="{6E1D9AE5-9B01-4D1E-A130-EA1856689D6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4327" y="2821182"/>
            <a:ext cx="791389" cy="792000"/>
          </a:xfrm>
          <a:prstGeom prst="rect">
            <a:avLst/>
          </a:prstGeom>
        </p:spPr>
      </p:pic>
      <p:pic>
        <p:nvPicPr>
          <p:cNvPr id="64" name="Ikona 4">
            <a:extLst>
              <a:ext uri="{FF2B5EF4-FFF2-40B4-BE49-F238E27FC236}">
                <a16:creationId xmlns:a16="http://schemas.microsoft.com/office/drawing/2014/main" id="{78221017-9FB8-4EF8-A88B-38444E30A279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4197" y="2826357"/>
            <a:ext cx="788298" cy="792000"/>
          </a:xfrm>
          <a:prstGeom prst="rect">
            <a:avLst/>
          </a:prstGeom>
        </p:spPr>
      </p:pic>
      <p:pic>
        <p:nvPicPr>
          <p:cNvPr id="65" name="Ikona 3">
            <a:extLst>
              <a:ext uri="{FF2B5EF4-FFF2-40B4-BE49-F238E27FC236}">
                <a16:creationId xmlns:a16="http://schemas.microsoft.com/office/drawing/2014/main" id="{D435ECA9-9699-4A70-9ABD-16C688E3468C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1468" y="2827327"/>
            <a:ext cx="788298" cy="792000"/>
          </a:xfrm>
          <a:prstGeom prst="rect">
            <a:avLst/>
          </a:prstGeom>
        </p:spPr>
      </p:pic>
      <p:pic>
        <p:nvPicPr>
          <p:cNvPr id="66" name="Ikona 2">
            <a:extLst>
              <a:ext uri="{FF2B5EF4-FFF2-40B4-BE49-F238E27FC236}">
                <a16:creationId xmlns:a16="http://schemas.microsoft.com/office/drawing/2014/main" id="{06B998D0-4DD3-4617-8B85-7A97769C7BF7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1592" y="3720280"/>
            <a:ext cx="791389" cy="792000"/>
          </a:xfrm>
          <a:prstGeom prst="rect">
            <a:avLst/>
          </a:prstGeom>
        </p:spPr>
      </p:pic>
      <p:pic>
        <p:nvPicPr>
          <p:cNvPr id="67" name="Ikona 1">
            <a:extLst>
              <a:ext uri="{FF2B5EF4-FFF2-40B4-BE49-F238E27FC236}">
                <a16:creationId xmlns:a16="http://schemas.microsoft.com/office/drawing/2014/main" id="{CDFE4053-986D-4CF5-BB65-55DDA986CB79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5004" y="3714480"/>
            <a:ext cx="794492" cy="792000"/>
          </a:xfrm>
          <a:prstGeom prst="rect">
            <a:avLst/>
          </a:prstGeom>
        </p:spPr>
      </p:pic>
      <p:pic>
        <p:nvPicPr>
          <p:cNvPr id="9" name="Vlajka CR">
            <a:extLst>
              <a:ext uri="{FF2B5EF4-FFF2-40B4-BE49-F238E27FC236}">
                <a16:creationId xmlns:a16="http://schemas.microsoft.com/office/drawing/2014/main" id="{471DD38C-87B2-4EF0-9C4F-92FAABA3B665}"/>
              </a:ext>
            </a:extLst>
          </p:cNvPr>
          <p:cNvPicPr>
            <a:picLocks noChangeArrowheads="1"/>
          </p:cNvPicPr>
          <p:nvPr userDrawn="1">
            <p:custDataLst>
              <p:tags r:id="rId1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1525177" y="249066"/>
            <a:ext cx="540000" cy="36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" name="Vlajka EU">
            <a:extLst>
              <a:ext uri="{FF2B5EF4-FFF2-40B4-BE49-F238E27FC236}">
                <a16:creationId xmlns:a16="http://schemas.microsoft.com/office/drawing/2014/main" id="{F0605D3E-9EE4-4CE0-8944-A11CBF44BE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118"/>
          <a:stretch/>
        </p:blipFill>
        <p:spPr>
          <a:xfrm>
            <a:off x="10876478" y="245794"/>
            <a:ext cx="538775" cy="360000"/>
          </a:xfrm>
          <a:prstGeom prst="rect">
            <a:avLst/>
          </a:prstGeom>
        </p:spPr>
      </p:pic>
      <p:sp>
        <p:nvSpPr>
          <p:cNvPr id="41" name="Podnadpis">
            <a:extLst>
              <a:ext uri="{FF2B5EF4-FFF2-40B4-BE49-F238E27FC236}">
                <a16:creationId xmlns:a16="http://schemas.microsoft.com/office/drawing/2014/main" id="{A48B58A5-C806-4673-B1BA-E9829457EAA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0806" y="5471177"/>
            <a:ext cx="8608732" cy="468000"/>
          </a:xfrm>
          <a:noFill/>
        </p:spPr>
        <p:txBody>
          <a:bodyPr anchor="ctr"/>
          <a:lstStyle>
            <a:lvl1pPr marL="0" indent="0">
              <a:buNone/>
              <a:defRPr lang="cs-CZ" sz="28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cs-CZ" dirty="0"/>
              <a:t>Vložte podnadpis</a:t>
            </a:r>
          </a:p>
        </p:txBody>
      </p:sp>
      <p:sp>
        <p:nvSpPr>
          <p:cNvPr id="13" name="Nadpis">
            <a:extLst>
              <a:ext uri="{FF2B5EF4-FFF2-40B4-BE49-F238E27FC236}">
                <a16:creationId xmlns:a16="http://schemas.microsoft.com/office/drawing/2014/main" id="{99BDED9C-93B2-4C0D-BE31-6A2F4570EB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1391" y="240974"/>
            <a:ext cx="8648147" cy="1598025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defRPr lang="cs-CZ" sz="3600" b="1" kern="1200">
                <a:solidFill>
                  <a:srgbClr val="2E5980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25" name="Ovál 24">
            <a:extLst>
              <a:ext uri="{FF2B5EF4-FFF2-40B4-BE49-F238E27FC236}">
                <a16:creationId xmlns:a16="http://schemas.microsoft.com/office/drawing/2014/main" id="{85608C8C-A5BF-494B-B98F-BF26C3344570}"/>
              </a:ext>
            </a:extLst>
          </p:cNvPr>
          <p:cNvSpPr/>
          <p:nvPr userDrawn="1"/>
        </p:nvSpPr>
        <p:spPr>
          <a:xfrm>
            <a:off x="8139289" y="752121"/>
            <a:ext cx="1747911" cy="1747911"/>
          </a:xfrm>
          <a:prstGeom prst="ellipse">
            <a:avLst/>
          </a:prstGeom>
          <a:solidFill>
            <a:schemeClr val="bg1"/>
          </a:solidFill>
          <a:ln w="19050">
            <a:solidFill>
              <a:srgbClr val="D714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6" name="Ovál 25">
            <a:extLst>
              <a:ext uri="{FF2B5EF4-FFF2-40B4-BE49-F238E27FC236}">
                <a16:creationId xmlns:a16="http://schemas.microsoft.com/office/drawing/2014/main" id="{BC455C05-C912-4CF2-99E8-833FCA3CA9A3}"/>
              </a:ext>
            </a:extLst>
          </p:cNvPr>
          <p:cNvSpPr/>
          <p:nvPr userDrawn="1"/>
        </p:nvSpPr>
        <p:spPr>
          <a:xfrm>
            <a:off x="8256659" y="869491"/>
            <a:ext cx="1513171" cy="1513171"/>
          </a:xfrm>
          <a:prstGeom prst="ellipse">
            <a:avLst/>
          </a:prstGeom>
          <a:solidFill>
            <a:srgbClr val="D714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31" name="Obrázek 30">
            <a:extLst>
              <a:ext uri="{FF2B5EF4-FFF2-40B4-BE49-F238E27FC236}">
                <a16:creationId xmlns:a16="http://schemas.microsoft.com/office/drawing/2014/main" id="{52D3FA4A-F313-44EC-A428-F726D29B81B7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2349" y="959018"/>
            <a:ext cx="1488101" cy="1080094"/>
          </a:xfrm>
          <a:prstGeom prst="rect">
            <a:avLst/>
          </a:prstGeom>
        </p:spPr>
      </p:pic>
      <p:pic>
        <p:nvPicPr>
          <p:cNvPr id="32" name="Obrázek 31">
            <a:extLst>
              <a:ext uri="{FF2B5EF4-FFF2-40B4-BE49-F238E27FC236}">
                <a16:creationId xmlns:a16="http://schemas.microsoft.com/office/drawing/2014/main" id="{25E82C8A-A0F8-49B9-A6F5-5CC95232A2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07" t="23116" r="13670" b="26189"/>
          <a:stretch/>
        </p:blipFill>
        <p:spPr>
          <a:xfrm>
            <a:off x="4784490" y="6141632"/>
            <a:ext cx="1830089" cy="582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9837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FBAE40"/>
          </p15:clr>
        </p15:guide>
        <p15:guide id="2" pos="760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" name="Obrázek 64">
            <a:extLst>
              <a:ext uri="{FF2B5EF4-FFF2-40B4-BE49-F238E27FC236}">
                <a16:creationId xmlns:a16="http://schemas.microsoft.com/office/drawing/2014/main" id="{1903806D-B11F-4777-91AC-14AF29D6B23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12658"/>
            <a:ext cx="12192000" cy="3424240"/>
          </a:xfrm>
          <a:prstGeom prst="rect">
            <a:avLst/>
          </a:prstGeom>
        </p:spPr>
      </p:pic>
      <p:pic>
        <p:nvPicPr>
          <p:cNvPr id="76" name="Obrázek 75">
            <a:extLst>
              <a:ext uri="{FF2B5EF4-FFF2-40B4-BE49-F238E27FC236}">
                <a16:creationId xmlns:a16="http://schemas.microsoft.com/office/drawing/2014/main" id="{F014DE85-7BF6-41C3-95C4-EC65E5EAD6E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5763" y="1354230"/>
            <a:ext cx="3136237" cy="3656116"/>
          </a:xfrm>
          <a:prstGeom prst="rect">
            <a:avLst/>
          </a:prstGeom>
        </p:spPr>
      </p:pic>
      <p:sp>
        <p:nvSpPr>
          <p:cNvPr id="69" name="Obdélník 50">
            <a:extLst>
              <a:ext uri="{FF2B5EF4-FFF2-40B4-BE49-F238E27FC236}">
                <a16:creationId xmlns:a16="http://schemas.microsoft.com/office/drawing/2014/main" id="{C6455D4C-929B-4BB2-BB4B-AA4BD3BB752C}"/>
              </a:ext>
            </a:extLst>
          </p:cNvPr>
          <p:cNvSpPr/>
          <p:nvPr userDrawn="1"/>
        </p:nvSpPr>
        <p:spPr>
          <a:xfrm>
            <a:off x="0" y="3760440"/>
            <a:ext cx="9379670" cy="276458"/>
          </a:xfrm>
          <a:custGeom>
            <a:avLst/>
            <a:gdLst>
              <a:gd name="connsiteX0" fmla="*/ 0 w 7559571"/>
              <a:gd name="connsiteY0" fmla="*/ 0 h 200385"/>
              <a:gd name="connsiteX1" fmla="*/ 7559571 w 7559571"/>
              <a:gd name="connsiteY1" fmla="*/ 0 h 200385"/>
              <a:gd name="connsiteX2" fmla="*/ 7559571 w 7559571"/>
              <a:gd name="connsiteY2" fmla="*/ 200385 h 200385"/>
              <a:gd name="connsiteX3" fmla="*/ 0 w 7559571"/>
              <a:gd name="connsiteY3" fmla="*/ 200385 h 200385"/>
              <a:gd name="connsiteX4" fmla="*/ 0 w 7559571"/>
              <a:gd name="connsiteY4" fmla="*/ 0 h 200385"/>
              <a:gd name="connsiteX0" fmla="*/ 0 w 7559571"/>
              <a:gd name="connsiteY0" fmla="*/ 9427 h 209812"/>
              <a:gd name="connsiteX1" fmla="*/ 7136091 w 7559571"/>
              <a:gd name="connsiteY1" fmla="*/ 0 h 209812"/>
              <a:gd name="connsiteX2" fmla="*/ 7559571 w 7559571"/>
              <a:gd name="connsiteY2" fmla="*/ 9427 h 209812"/>
              <a:gd name="connsiteX3" fmla="*/ 7559571 w 7559571"/>
              <a:gd name="connsiteY3" fmla="*/ 209812 h 209812"/>
              <a:gd name="connsiteX4" fmla="*/ 0 w 7559571"/>
              <a:gd name="connsiteY4" fmla="*/ 209812 h 209812"/>
              <a:gd name="connsiteX5" fmla="*/ 0 w 7559571"/>
              <a:gd name="connsiteY5" fmla="*/ 9427 h 209812"/>
              <a:gd name="connsiteX0" fmla="*/ 0 w 7673419"/>
              <a:gd name="connsiteY0" fmla="*/ 292231 h 492616"/>
              <a:gd name="connsiteX1" fmla="*/ 7673419 w 7673419"/>
              <a:gd name="connsiteY1" fmla="*/ 0 h 492616"/>
              <a:gd name="connsiteX2" fmla="*/ 7559571 w 7673419"/>
              <a:gd name="connsiteY2" fmla="*/ 292231 h 492616"/>
              <a:gd name="connsiteX3" fmla="*/ 7559571 w 7673419"/>
              <a:gd name="connsiteY3" fmla="*/ 492616 h 492616"/>
              <a:gd name="connsiteX4" fmla="*/ 0 w 7673419"/>
              <a:gd name="connsiteY4" fmla="*/ 492616 h 492616"/>
              <a:gd name="connsiteX5" fmla="*/ 0 w 7673419"/>
              <a:gd name="connsiteY5" fmla="*/ 292231 h 492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73419" h="492616">
                <a:moveTo>
                  <a:pt x="0" y="292231"/>
                </a:moveTo>
                <a:lnTo>
                  <a:pt x="7673419" y="0"/>
                </a:lnTo>
                <a:lnTo>
                  <a:pt x="7559571" y="292231"/>
                </a:lnTo>
                <a:lnTo>
                  <a:pt x="7559571" y="492616"/>
                </a:lnTo>
                <a:lnTo>
                  <a:pt x="0" y="492616"/>
                </a:lnTo>
                <a:lnTo>
                  <a:pt x="0" y="292231"/>
                </a:lnTo>
                <a:close/>
              </a:path>
            </a:pathLst>
          </a:custGeom>
          <a:solidFill>
            <a:srgbClr val="0842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4" name="Slza pozadi">
            <a:extLst>
              <a:ext uri="{FF2B5EF4-FFF2-40B4-BE49-F238E27FC236}">
                <a16:creationId xmlns:a16="http://schemas.microsoft.com/office/drawing/2014/main" id="{5B472087-BEB7-43F0-96A3-BDC392C6630F}"/>
              </a:ext>
            </a:extLst>
          </p:cNvPr>
          <p:cNvSpPr/>
          <p:nvPr userDrawn="1"/>
        </p:nvSpPr>
        <p:spPr>
          <a:xfrm rot="16200000">
            <a:off x="1560424" y="-947766"/>
            <a:ext cx="3157403" cy="6278252"/>
          </a:xfrm>
          <a:prstGeom prst="teardrop">
            <a:avLst/>
          </a:prstGeom>
          <a:solidFill>
            <a:srgbClr val="244865">
              <a:alpha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n-lt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9" name="Logo UZIS - skupina">
            <a:extLst>
              <a:ext uri="{FF2B5EF4-FFF2-40B4-BE49-F238E27FC236}">
                <a16:creationId xmlns:a16="http://schemas.microsoft.com/office/drawing/2014/main" id="{E1E7BBD5-891B-4A2F-BD63-5F5DA00EFD2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573965" y="6090002"/>
            <a:ext cx="4524251" cy="612428"/>
            <a:chOff x="4084311" y="378348"/>
            <a:chExt cx="5627053" cy="709095"/>
          </a:xfrm>
        </p:grpSpPr>
        <p:sp>
          <p:nvSpPr>
            <p:cNvPr id="10" name="Nazev">
              <a:extLst>
                <a:ext uri="{FF2B5EF4-FFF2-40B4-BE49-F238E27FC236}">
                  <a16:creationId xmlns:a16="http://schemas.microsoft.com/office/drawing/2014/main" id="{4C1916FE-4B88-49CD-BA58-7B74C639AF98}"/>
                </a:ext>
              </a:extLst>
            </p:cNvPr>
            <p:cNvSpPr txBox="1"/>
            <p:nvPr userDrawn="1"/>
          </p:nvSpPr>
          <p:spPr>
            <a:xfrm>
              <a:off x="5237394" y="599696"/>
              <a:ext cx="4473970" cy="4276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noProof="0" dirty="0">
                  <a:solidFill>
                    <a:srgbClr val="2B297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Ústav zdravotnických informací a statistiky České republiky</a:t>
              </a:r>
            </a:p>
            <a:p>
              <a:r>
                <a:rPr lang="en-US" sz="900" i="1" dirty="0">
                  <a:solidFill>
                    <a:srgbClr val="2B297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titute of Health Information and Statistics of the Czech Republic</a:t>
              </a:r>
            </a:p>
          </p:txBody>
        </p:sp>
        <p:pic>
          <p:nvPicPr>
            <p:cNvPr id="11" name="Logo">
              <a:extLst>
                <a:ext uri="{FF2B5EF4-FFF2-40B4-BE49-F238E27FC236}">
                  <a16:creationId xmlns:a16="http://schemas.microsoft.com/office/drawing/2014/main" id="{9F92AC57-7FC1-4571-BECE-7125420930C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84311" y="378348"/>
              <a:ext cx="1080000" cy="709095"/>
            </a:xfrm>
            <a:prstGeom prst="rect">
              <a:avLst/>
            </a:prstGeom>
          </p:spPr>
        </p:pic>
      </p:grpSp>
      <p:pic>
        <p:nvPicPr>
          <p:cNvPr id="8" name="Logo MZ CR">
            <a:extLst>
              <a:ext uri="{FF2B5EF4-FFF2-40B4-BE49-F238E27FC236}">
                <a16:creationId xmlns:a16="http://schemas.microsoft.com/office/drawing/2014/main" id="{5B7C4270-13A2-4527-A4C7-32FE9859D7F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311" y="156482"/>
            <a:ext cx="3763463" cy="324000"/>
          </a:xfrm>
          <a:prstGeom prst="rect">
            <a:avLst/>
          </a:prstGeom>
        </p:spPr>
      </p:pic>
      <p:sp>
        <p:nvSpPr>
          <p:cNvPr id="2" name="Nadpis 1">
            <a:extLst>
              <a:ext uri="{FF2B5EF4-FFF2-40B4-BE49-F238E27FC236}">
                <a16:creationId xmlns:a16="http://schemas.microsoft.com/office/drawing/2014/main" id="{DBF05EC1-AC34-4998-A874-C476BF92C7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490" y="1382511"/>
            <a:ext cx="5246408" cy="1404481"/>
          </a:xfrm>
        </p:spPr>
        <p:txBody>
          <a:bodyPr>
            <a:normAutofit/>
          </a:bodyPr>
          <a:lstStyle>
            <a:lvl1pPr algn="l">
              <a:defRPr sz="36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30F5E0A5-FA60-44D8-9106-C4F05A37F6A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506" y="5213021"/>
            <a:ext cx="11116463" cy="468000"/>
          </a:xfrm>
        </p:spPr>
        <p:txBody>
          <a:bodyPr anchor="ctr">
            <a:noAutofit/>
          </a:bodyPr>
          <a:lstStyle>
            <a:lvl1pPr marL="0" indent="0" algn="l">
              <a:buNone/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cs-CZ" dirty="0"/>
              <a:t>Vložte podnadpis</a:t>
            </a:r>
          </a:p>
        </p:txBody>
      </p:sp>
      <p:sp>
        <p:nvSpPr>
          <p:cNvPr id="5" name="Rovnoramenný trojúhelník 4">
            <a:extLst>
              <a:ext uri="{FF2B5EF4-FFF2-40B4-BE49-F238E27FC236}">
                <a16:creationId xmlns:a16="http://schemas.microsoft.com/office/drawing/2014/main" id="{7CAA4C88-F276-4D85-BC5A-855142C9A879}"/>
              </a:ext>
            </a:extLst>
          </p:cNvPr>
          <p:cNvSpPr/>
          <p:nvPr userDrawn="1"/>
        </p:nvSpPr>
        <p:spPr>
          <a:xfrm rot="1106797">
            <a:off x="9886179" y="3906438"/>
            <a:ext cx="925689" cy="1307747"/>
          </a:xfrm>
          <a:prstGeom prst="triangle">
            <a:avLst>
              <a:gd name="adj" fmla="val 54766"/>
            </a:avLst>
          </a:prstGeom>
          <a:solidFill>
            <a:srgbClr val="FFC000">
              <a:alpha val="44000"/>
            </a:srgbClr>
          </a:solidFill>
          <a:ln w="15875">
            <a:solidFill>
              <a:srgbClr val="2E5980"/>
            </a:solidFill>
          </a:ln>
          <a:effectLst>
            <a:outerShdw blurRad="50800" dist="50800" dir="5400000" algn="ctr" rotWithShape="0">
              <a:srgbClr val="2E5980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9" name="Obrázek 18">
            <a:extLst>
              <a:ext uri="{FF2B5EF4-FFF2-40B4-BE49-F238E27FC236}">
                <a16:creationId xmlns:a16="http://schemas.microsoft.com/office/drawing/2014/main" id="{286DC835-101F-496F-A2E7-81BCF90619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07" t="23116" r="13670" b="26189"/>
          <a:stretch/>
        </p:blipFill>
        <p:spPr>
          <a:xfrm>
            <a:off x="10518756" y="130979"/>
            <a:ext cx="1437527" cy="457526"/>
          </a:xfrm>
          <a:prstGeom prst="rect">
            <a:avLst/>
          </a:prstGeom>
        </p:spPr>
      </p:pic>
      <p:grpSp>
        <p:nvGrpSpPr>
          <p:cNvPr id="20" name="Skupina 19">
            <a:extLst>
              <a:ext uri="{FF2B5EF4-FFF2-40B4-BE49-F238E27FC236}">
                <a16:creationId xmlns:a16="http://schemas.microsoft.com/office/drawing/2014/main" id="{387B461A-7DF4-4E69-95E7-D2F04E783964}"/>
              </a:ext>
            </a:extLst>
          </p:cNvPr>
          <p:cNvGrpSpPr/>
          <p:nvPr userDrawn="1"/>
        </p:nvGrpSpPr>
        <p:grpSpPr>
          <a:xfrm>
            <a:off x="9573906" y="4835335"/>
            <a:ext cx="1029600" cy="1029600"/>
            <a:chOff x="8139289" y="752121"/>
            <a:chExt cx="1747911" cy="1747911"/>
          </a:xfrm>
        </p:grpSpPr>
        <p:sp>
          <p:nvSpPr>
            <p:cNvPr id="21" name="Ovál 20">
              <a:extLst>
                <a:ext uri="{FF2B5EF4-FFF2-40B4-BE49-F238E27FC236}">
                  <a16:creationId xmlns:a16="http://schemas.microsoft.com/office/drawing/2014/main" id="{33E5D6CF-8D1A-43EC-81AF-C6B441D1F047}"/>
                </a:ext>
              </a:extLst>
            </p:cNvPr>
            <p:cNvSpPr/>
            <p:nvPr userDrawn="1"/>
          </p:nvSpPr>
          <p:spPr>
            <a:xfrm>
              <a:off x="8139289" y="752121"/>
              <a:ext cx="1747911" cy="1747911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D7144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22" name="Ovál 21">
              <a:extLst>
                <a:ext uri="{FF2B5EF4-FFF2-40B4-BE49-F238E27FC236}">
                  <a16:creationId xmlns:a16="http://schemas.microsoft.com/office/drawing/2014/main" id="{6B3AB9E4-4018-4B9C-83F2-E7A4A6F66B6B}"/>
                </a:ext>
              </a:extLst>
            </p:cNvPr>
            <p:cNvSpPr/>
            <p:nvPr userDrawn="1"/>
          </p:nvSpPr>
          <p:spPr>
            <a:xfrm>
              <a:off x="8256659" y="869491"/>
              <a:ext cx="1513171" cy="1513171"/>
            </a:xfrm>
            <a:prstGeom prst="ellipse">
              <a:avLst/>
            </a:prstGeom>
            <a:solidFill>
              <a:srgbClr val="D714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23" name="Obrázek 22">
              <a:extLst>
                <a:ext uri="{FF2B5EF4-FFF2-40B4-BE49-F238E27FC236}">
                  <a16:creationId xmlns:a16="http://schemas.microsoft.com/office/drawing/2014/main" id="{4201897D-1EE6-4E94-A2F8-337C7B07036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62349" y="959018"/>
              <a:ext cx="1488101" cy="108009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29116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30">
          <p15:clr>
            <a:srgbClr val="FBAE40"/>
          </p15:clr>
        </p15:guide>
        <p15:guide id="2" pos="34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35887146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Volný tvar 17">
            <a:extLst>
              <a:ext uri="{FF2B5EF4-FFF2-40B4-BE49-F238E27FC236}">
                <a16:creationId xmlns:a16="http://schemas.microsoft.com/office/drawing/2014/main" id="{F9DF11D7-C1A0-46F5-B20A-EE3A4700E45D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4" name="Volný tvar 19">
            <a:extLst>
              <a:ext uri="{FF2B5EF4-FFF2-40B4-BE49-F238E27FC236}">
                <a16:creationId xmlns:a16="http://schemas.microsoft.com/office/drawing/2014/main" id="{DA5EF6B5-1015-4E5F-BC7C-2B0B40DC4C74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9904775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BC96849-B51D-404E-A606-C39D1437B1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2800" b="1">
                <a:solidFill>
                  <a:srgbClr val="000064"/>
                </a:solidFill>
                <a:latin typeface="+mn-lt"/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2EF31923-C2AB-4A34-9B7D-DA67DD19B8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grpSp>
        <p:nvGrpSpPr>
          <p:cNvPr id="7" name="Skupina 6">
            <a:extLst>
              <a:ext uri="{FF2B5EF4-FFF2-40B4-BE49-F238E27FC236}">
                <a16:creationId xmlns:a16="http://schemas.microsoft.com/office/drawing/2014/main" id="{5BE613EF-EFFF-4C48-A5AB-FC631C9977EA}"/>
              </a:ext>
            </a:extLst>
          </p:cNvPr>
          <p:cNvGrpSpPr/>
          <p:nvPr userDrawn="1"/>
        </p:nvGrpSpPr>
        <p:grpSpPr>
          <a:xfrm>
            <a:off x="0" y="6822017"/>
            <a:ext cx="12192000" cy="36000"/>
            <a:chOff x="0" y="5879929"/>
            <a:chExt cx="12192000" cy="108012"/>
          </a:xfrm>
          <a:solidFill>
            <a:srgbClr val="515252"/>
          </a:solidFill>
        </p:grpSpPr>
        <p:sp>
          <p:nvSpPr>
            <p:cNvPr id="8" name="Obdélník 7">
              <a:extLst>
                <a:ext uri="{FF2B5EF4-FFF2-40B4-BE49-F238E27FC236}">
                  <a16:creationId xmlns:a16="http://schemas.microsoft.com/office/drawing/2014/main" id="{09A51555-0EFA-4B59-B700-F8EB37CD2822}"/>
                </a:ext>
              </a:extLst>
            </p:cNvPr>
            <p:cNvSpPr/>
            <p:nvPr userDrawn="1"/>
          </p:nvSpPr>
          <p:spPr>
            <a:xfrm>
              <a:off x="0" y="5879929"/>
              <a:ext cx="12192000" cy="10801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>
                <a:solidFill>
                  <a:schemeClr val="accent2"/>
                </a:solidFill>
              </a:endParaRPr>
            </a:p>
          </p:txBody>
        </p:sp>
        <p:sp>
          <p:nvSpPr>
            <p:cNvPr id="9" name="Obdélník 8">
              <a:extLst>
                <a:ext uri="{FF2B5EF4-FFF2-40B4-BE49-F238E27FC236}">
                  <a16:creationId xmlns:a16="http://schemas.microsoft.com/office/drawing/2014/main" id="{DE8B7259-978C-49F8-B4C5-A1D5392B2037}"/>
                </a:ext>
              </a:extLst>
            </p:cNvPr>
            <p:cNvSpPr/>
            <p:nvPr userDrawn="1"/>
          </p:nvSpPr>
          <p:spPr>
            <a:xfrm>
              <a:off x="1793269" y="5879929"/>
              <a:ext cx="9720000" cy="10801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>
                <a:solidFill>
                  <a:schemeClr val="accent2"/>
                </a:solidFill>
              </a:endParaRPr>
            </a:p>
          </p:txBody>
        </p:sp>
        <p:sp>
          <p:nvSpPr>
            <p:cNvPr id="10" name="Obdélník 9">
              <a:extLst>
                <a:ext uri="{FF2B5EF4-FFF2-40B4-BE49-F238E27FC236}">
                  <a16:creationId xmlns:a16="http://schemas.microsoft.com/office/drawing/2014/main" id="{9B7D26CF-5C55-4301-906A-8C4E56F2A598}"/>
                </a:ext>
              </a:extLst>
            </p:cNvPr>
            <p:cNvSpPr/>
            <p:nvPr userDrawn="1"/>
          </p:nvSpPr>
          <p:spPr>
            <a:xfrm>
              <a:off x="4272000" y="5879929"/>
              <a:ext cx="7920000" cy="10801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>
                <a:solidFill>
                  <a:schemeClr val="accent2"/>
                </a:solidFill>
              </a:endParaRPr>
            </a:p>
          </p:txBody>
        </p:sp>
      </p:grp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E278B969-633B-482B-8850-A43B5971E560}"/>
              </a:ext>
            </a:extLst>
          </p:cNvPr>
          <p:cNvGrpSpPr/>
          <p:nvPr userDrawn="1"/>
        </p:nvGrpSpPr>
        <p:grpSpPr>
          <a:xfrm>
            <a:off x="0" y="0"/>
            <a:ext cx="9352230" cy="329491"/>
            <a:chOff x="0" y="5879929"/>
            <a:chExt cx="12192000" cy="108012"/>
          </a:xfrm>
          <a:solidFill>
            <a:srgbClr val="DC2B19"/>
          </a:solidFill>
        </p:grpSpPr>
        <p:sp>
          <p:nvSpPr>
            <p:cNvPr id="12" name="Obdélník 11">
              <a:extLst>
                <a:ext uri="{FF2B5EF4-FFF2-40B4-BE49-F238E27FC236}">
                  <a16:creationId xmlns:a16="http://schemas.microsoft.com/office/drawing/2014/main" id="{1332137B-E2EF-407A-9495-FF8DFAA47140}"/>
                </a:ext>
              </a:extLst>
            </p:cNvPr>
            <p:cNvSpPr/>
            <p:nvPr userDrawn="1"/>
          </p:nvSpPr>
          <p:spPr>
            <a:xfrm>
              <a:off x="0" y="5879929"/>
              <a:ext cx="12192000" cy="10801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>
                <a:solidFill>
                  <a:schemeClr val="accent2"/>
                </a:solidFill>
              </a:endParaRPr>
            </a:p>
          </p:txBody>
        </p:sp>
        <p:sp>
          <p:nvSpPr>
            <p:cNvPr id="13" name="Obdélník 12">
              <a:extLst>
                <a:ext uri="{FF2B5EF4-FFF2-40B4-BE49-F238E27FC236}">
                  <a16:creationId xmlns:a16="http://schemas.microsoft.com/office/drawing/2014/main" id="{84EC0A06-04DF-4F6F-A764-0E264F713B58}"/>
                </a:ext>
              </a:extLst>
            </p:cNvPr>
            <p:cNvSpPr/>
            <p:nvPr userDrawn="1"/>
          </p:nvSpPr>
          <p:spPr>
            <a:xfrm>
              <a:off x="1793269" y="5879929"/>
              <a:ext cx="9720000" cy="10801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>
                <a:solidFill>
                  <a:schemeClr val="accent2"/>
                </a:solidFill>
              </a:endParaRPr>
            </a:p>
          </p:txBody>
        </p:sp>
        <p:sp>
          <p:nvSpPr>
            <p:cNvPr id="14" name="Obdélník 13">
              <a:extLst>
                <a:ext uri="{FF2B5EF4-FFF2-40B4-BE49-F238E27FC236}">
                  <a16:creationId xmlns:a16="http://schemas.microsoft.com/office/drawing/2014/main" id="{3D066810-52A7-48B0-8B26-B60AC948B1AB}"/>
                </a:ext>
              </a:extLst>
            </p:cNvPr>
            <p:cNvSpPr/>
            <p:nvPr userDrawn="1"/>
          </p:nvSpPr>
          <p:spPr>
            <a:xfrm>
              <a:off x="4272000" y="5879929"/>
              <a:ext cx="7920000" cy="10801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>
                <a:solidFill>
                  <a:schemeClr val="accent2"/>
                </a:solidFill>
              </a:endParaRPr>
            </a:p>
          </p:txBody>
        </p:sp>
      </p:grpSp>
      <p:pic>
        <p:nvPicPr>
          <p:cNvPr id="16" name="Obrázek 15">
            <a:extLst>
              <a:ext uri="{FF2B5EF4-FFF2-40B4-BE49-F238E27FC236}">
                <a16:creationId xmlns:a16="http://schemas.microsoft.com/office/drawing/2014/main" id="{DCE2A123-2F9B-4BC3-91F3-E44783FEDE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07" t="23116" r="13670" b="26189"/>
          <a:stretch/>
        </p:blipFill>
        <p:spPr>
          <a:xfrm>
            <a:off x="10385015" y="0"/>
            <a:ext cx="1141889" cy="363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7335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2B0C1F-6E56-4117-AE2E-C7B1560A6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38DFB6A-BC6E-43DD-ABB1-6F6389CF95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7FFC15-7946-4D1F-89D0-327F959ADCB6}" type="datetimeFigureOut">
              <a:rPr lang="cs-CZ" smtClean="0"/>
              <a:t>24.10.2023</a:t>
            </a:fld>
            <a:endParaRPr lang="cs-CZ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A3D61F1-3F7B-426F-9D82-9C3D9B46B4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A8D34A-E080-4B05-855C-B922B1B2B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6531FB-58BB-4FC0-8444-1459D7B60734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13154909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>
            <a:extLst>
              <a:ext uri="{FF2B5EF4-FFF2-40B4-BE49-F238E27FC236}">
                <a16:creationId xmlns:a16="http://schemas.microsoft.com/office/drawing/2014/main" id="{63EA0E24-3DEE-4F9B-BE62-2C949AF5B0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12658"/>
            <a:ext cx="12192000" cy="4718304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EA7E5BF0-AE0D-4088-9249-900F92A0E8F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12658"/>
            <a:ext cx="12192000" cy="4718304"/>
          </a:xfrm>
          <a:prstGeom prst="rect">
            <a:avLst/>
          </a:prstGeom>
        </p:spPr>
      </p:pic>
      <p:pic>
        <p:nvPicPr>
          <p:cNvPr id="66" name="Obrázek 65" descr="cid:image001.jpg@01CED555.8CFAB4A0">
            <a:extLst>
              <a:ext uri="{FF2B5EF4-FFF2-40B4-BE49-F238E27FC236}">
                <a16:creationId xmlns:a16="http://schemas.microsoft.com/office/drawing/2014/main" id="{D17F3592-01D7-4B8C-BAC8-A15B8AA86699}"/>
              </a:ext>
            </a:extLst>
          </p:cNvPr>
          <p:cNvPicPr/>
          <p:nvPr userDrawn="1"/>
        </p:nvPicPr>
        <p:blipFill>
          <a:blip r:embed="rId4"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0159" y="6243595"/>
            <a:ext cx="4320480" cy="504056"/>
          </a:xfrm>
          <a:prstGeom prst="rect">
            <a:avLst/>
          </a:prstGeom>
          <a:noFill/>
          <a:ln>
            <a:noFill/>
          </a:ln>
        </p:spPr>
      </p:pic>
      <p:pic>
        <p:nvPicPr>
          <p:cNvPr id="67" name="Picture 9" descr="logo_mzcr">
            <a:extLst>
              <a:ext uri="{FF2B5EF4-FFF2-40B4-BE49-F238E27FC236}">
                <a16:creationId xmlns:a16="http://schemas.microsoft.com/office/drawing/2014/main" id="{285C40DD-D2EF-48E7-99A8-53B809A1EA9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677" y="137068"/>
            <a:ext cx="3896923" cy="343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Obdélník 6">
            <a:extLst>
              <a:ext uri="{FF2B5EF4-FFF2-40B4-BE49-F238E27FC236}">
                <a16:creationId xmlns:a16="http://schemas.microsoft.com/office/drawing/2014/main" id="{D4D1F535-DC44-479F-B5BD-92EA59F33323}"/>
              </a:ext>
            </a:extLst>
          </p:cNvPr>
          <p:cNvSpPr/>
          <p:nvPr userDrawn="1"/>
        </p:nvSpPr>
        <p:spPr>
          <a:xfrm>
            <a:off x="347463" y="1160781"/>
            <a:ext cx="5220082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cs-CZ" sz="2200" b="1" i="1" dirty="0">
                <a:solidFill>
                  <a:schemeClr val="bg1"/>
                </a:solidFill>
              </a:rPr>
              <a:t>Analytické studie programu Zdraví 2030: </a:t>
            </a:r>
            <a:r>
              <a:rPr lang="cs-CZ" sz="3400" b="1" dirty="0">
                <a:solidFill>
                  <a:schemeClr val="bg1"/>
                </a:solidFill>
              </a:rPr>
              <a:t>Kapacity a aktivita </a:t>
            </a:r>
          </a:p>
          <a:p>
            <a:pPr algn="l"/>
            <a:r>
              <a:rPr lang="cs-CZ" sz="3400" b="1" dirty="0">
                <a:solidFill>
                  <a:schemeClr val="bg1"/>
                </a:solidFill>
              </a:rPr>
              <a:t>PL a PLDD </a:t>
            </a:r>
          </a:p>
        </p:txBody>
      </p:sp>
      <p:pic>
        <p:nvPicPr>
          <p:cNvPr id="4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8E98422F-1202-68B7-A6C5-FD1E3B50298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8032" y="87416"/>
            <a:ext cx="1252291" cy="487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13638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Volný tvar 6">
            <a:extLst>
              <a:ext uri="{FF2B5EF4-FFF2-40B4-BE49-F238E27FC236}">
                <a16:creationId xmlns:a16="http://schemas.microsoft.com/office/drawing/2014/main" id="{9C4E3F5D-17FE-4F11-BF0B-55FCB20C5B12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1" name="Volný tvar 17">
            <a:extLst>
              <a:ext uri="{FF2B5EF4-FFF2-40B4-BE49-F238E27FC236}">
                <a16:creationId xmlns:a16="http://schemas.microsoft.com/office/drawing/2014/main" id="{D48C225E-8000-42E1-8A87-FBEBB02FC061}"/>
              </a:ext>
            </a:extLst>
          </p:cNvPr>
          <p:cNvSpPr/>
          <p:nvPr userDrawn="1"/>
        </p:nvSpPr>
        <p:spPr>
          <a:xfrm rot="10800000">
            <a:off x="-9428" y="4390233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2" name="Volný tvar 18">
            <a:extLst>
              <a:ext uri="{FF2B5EF4-FFF2-40B4-BE49-F238E27FC236}">
                <a16:creationId xmlns:a16="http://schemas.microsoft.com/office/drawing/2014/main" id="{E8850329-92A2-4C8B-8B48-BF3BBCB09972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rgbClr val="33CCCC"/>
              </a:solidFill>
            </a:endParaRPr>
          </a:p>
        </p:txBody>
      </p:sp>
      <p:sp>
        <p:nvSpPr>
          <p:cNvPr id="73" name="Volný tvar 19">
            <a:extLst>
              <a:ext uri="{FF2B5EF4-FFF2-40B4-BE49-F238E27FC236}">
                <a16:creationId xmlns:a16="http://schemas.microsoft.com/office/drawing/2014/main" id="{33F7304C-8B0F-401C-BBB8-0F87B5779B2B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77339074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3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F6B18D0-DA41-4D0E-98BC-745BE988FE28}" type="datetimeFigureOut">
              <a:rPr lang="cs-CZ" smtClean="0"/>
              <a:t>24.10.2023</a:t>
            </a:fld>
            <a:endParaRPr lang="cs-CZ" dirty="0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 dirty="0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BBFB874-7FBE-4101-B1CB-526AFCBFC428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43247526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106509-3C78-4B96-816D-6058A3422FE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25C2621-BCA2-4940-8AB1-99CCDD6C6FF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0FAF3E-E45F-4A95-BC68-D6FC323920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7FFC15-7946-4D1F-89D0-327F959ADCB6}" type="datetimeFigureOut">
              <a:rPr lang="cs-CZ" smtClean="0"/>
              <a:t>24.10.2023</a:t>
            </a:fld>
            <a:endParaRPr lang="cs-CZ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BEAD36-0F75-4E43-A4BD-7A1CBD0886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282795-CEF7-4C16-9312-A9AE400E75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6531FB-58BB-4FC0-8444-1459D7B60734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9959234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92EC80-EEAF-4C65-BAFA-8C7EF93F42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E808B7-472A-49E9-B3BB-015A8534668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F014077-DE66-4C2D-97F6-10CF51A93B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7FFC15-7946-4D1F-89D0-327F959ADCB6}" type="datetimeFigureOut">
              <a:rPr lang="cs-CZ" smtClean="0"/>
              <a:t>24.10.2023</a:t>
            </a:fld>
            <a:endParaRPr lang="cs-CZ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D7F714-7596-4B5F-89C0-4051A6877E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37A469-577E-4C94-BAD6-7C34C9BC78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6531FB-58BB-4FC0-8444-1459D7B60734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82390514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DE9EDF-7AA7-4BF6-8FC6-674623654A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3AD8E4-9166-4B4A-9778-8C9A034F4B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A48506-8089-40D5-923B-F711DFEEFA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7FFC15-7946-4D1F-89D0-327F959ADCB6}" type="datetimeFigureOut">
              <a:rPr lang="cs-CZ" smtClean="0"/>
              <a:t>24.10.2023</a:t>
            </a:fld>
            <a:endParaRPr lang="cs-CZ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35F89E-46FD-4004-BEE1-97E79DCB06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1A230D-6F22-4DF0-B5E9-BB4C92DF2C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6531FB-58BB-4FC0-8444-1459D7B60734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60614223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359A5A-721D-49F9-B265-C90F9FF403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CCE6A0-DC19-498B-BBFD-A9B545CE8E5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62F5798-15A2-48E6-AC88-1EF584A29B1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0E3B8F-410F-463A-8945-DE6CA556F6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7FFC15-7946-4D1F-89D0-327F959ADCB6}" type="datetimeFigureOut">
              <a:rPr lang="cs-CZ" smtClean="0"/>
              <a:t>24.10.2023</a:t>
            </a:fld>
            <a:endParaRPr lang="cs-CZ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63FCCA0-311B-4BF1-B507-F6CDC06F75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B461A46-37F4-4DB5-85B5-C31A915583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6531FB-58BB-4FC0-8444-1459D7B60734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4081384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F67266-46BA-4678-B84F-90F6C00BE7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7AA49C-AE07-4EC3-BF3F-1A1FA4318A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4F94718-86E6-416D-B769-92B2CA0957E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1C82A63-7974-4DBF-A3F1-BFEAFCF1024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5450FE7-6984-4F71-9903-6D181977FEF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055E0B3-DCBD-453A-9143-3431D625D6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7FFC15-7946-4D1F-89D0-327F959ADCB6}" type="datetimeFigureOut">
              <a:rPr lang="cs-CZ" smtClean="0"/>
              <a:t>24.10.2023</a:t>
            </a:fld>
            <a:endParaRPr lang="cs-CZ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39294D7-8296-4153-B818-AA21CA4621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88AC591-0FB5-4C0E-B939-ACA4F39188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6531FB-58BB-4FC0-8444-1459D7B60734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85135412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2B0C1F-6E56-4117-AE2E-C7B1560A6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38DFB6A-BC6E-43DD-ABB1-6F6389CF95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7FFC15-7946-4D1F-89D0-327F959ADCB6}" type="datetimeFigureOut">
              <a:rPr lang="cs-CZ" smtClean="0"/>
              <a:t>24.10.2023</a:t>
            </a:fld>
            <a:endParaRPr lang="cs-CZ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A3D61F1-3F7B-426F-9D82-9C3D9B46B4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A8D34A-E080-4B05-855C-B922B1B2B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6531FB-58BB-4FC0-8444-1459D7B60734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0488041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083090B-2B35-42CE-9455-415C696A63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7FFC15-7946-4D1F-89D0-327F959ADCB6}" type="datetimeFigureOut">
              <a:rPr lang="cs-CZ" smtClean="0"/>
              <a:t>24.10.2023</a:t>
            </a:fld>
            <a:endParaRPr lang="cs-CZ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B583ED4-6FF2-4AA4-9352-84062EE9F3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5267CB-D3A9-4D24-B512-3A85D75887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6531FB-58BB-4FC0-8444-1459D7B60734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57186842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1B5027-45F4-45C4-9D79-553C06AC70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BD900C-67F3-4B67-8C70-DD29019236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3964CE-31FC-4D38-9C3B-7086CF84044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81AD61E-8A98-4FE6-9A69-DC35B264B8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7FFC15-7946-4D1F-89D0-327F959ADCB6}" type="datetimeFigureOut">
              <a:rPr lang="cs-CZ" smtClean="0"/>
              <a:t>24.10.2023</a:t>
            </a:fld>
            <a:endParaRPr lang="cs-CZ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6E75A2E-CE8C-4998-B5F7-6671B5286A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4F82231-8D10-4052-878F-0E7D983646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6531FB-58BB-4FC0-8444-1459D7B60734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78930287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B78739-F7DF-4E29-95F9-F2C376BDB7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A1B5B7C-E5CE-47F9-B110-AD3565F22C1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E4318C4-8AC1-4B87-9E33-B0FA8796EEF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03B9BD-F110-478C-8BFF-C8D6B501B0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7FFC15-7946-4D1F-89D0-327F959ADCB6}" type="datetimeFigureOut">
              <a:rPr lang="cs-CZ" smtClean="0"/>
              <a:t>24.10.2023</a:t>
            </a:fld>
            <a:endParaRPr lang="cs-CZ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F350EAE-32C8-4520-8052-75A2120552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FEDA15A-C202-4D94-84A1-6319F312E0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6531FB-58BB-4FC0-8444-1459D7B60734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2130036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Volný tvar 17">
            <a:extLst>
              <a:ext uri="{FF2B5EF4-FFF2-40B4-BE49-F238E27FC236}">
                <a16:creationId xmlns:a16="http://schemas.microsoft.com/office/drawing/2014/main" id="{F9DF11D7-C1A0-46F5-B20A-EE3A4700E45D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4" name="Volný tvar 19">
            <a:extLst>
              <a:ext uri="{FF2B5EF4-FFF2-40B4-BE49-F238E27FC236}">
                <a16:creationId xmlns:a16="http://schemas.microsoft.com/office/drawing/2014/main" id="{DA5EF6B5-1015-4E5F-BC7C-2B0B40DC4C74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52024289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8B40E5-823E-433D-B134-0B8CCBA870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300AFD0-051A-4EC9-A8AC-271D213CEE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1DC775-81D1-412D-827A-06B1F131A2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7FFC15-7946-4D1F-89D0-327F959ADCB6}" type="datetimeFigureOut">
              <a:rPr lang="cs-CZ" smtClean="0"/>
              <a:t>24.10.2023</a:t>
            </a:fld>
            <a:endParaRPr lang="cs-CZ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437D25-9306-48E0-BAE0-20D4672FDC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481190-8A97-4AE9-B65F-0C5A3D9A9C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6531FB-58BB-4FC0-8444-1459D7B60734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47267035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7A6E87F-4ACA-4FDC-9D4E-9486AC71D04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EF88516-F053-40C9-8485-CCAC8121F09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7A0814-C60D-4749-AD3F-8CE943FA38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7FFC15-7946-4D1F-89D0-327F959ADCB6}" type="datetimeFigureOut">
              <a:rPr lang="cs-CZ" smtClean="0"/>
              <a:t>24.10.2023</a:t>
            </a:fld>
            <a:endParaRPr lang="cs-CZ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001D4F-8C8C-4D49-9035-66B8B5A1BD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15E823-90C4-45E7-A649-AED45B840F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6531FB-58BB-4FC0-8444-1459D7B60734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4392974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188640"/>
            <a:ext cx="10945216" cy="648072"/>
          </a:xfrm>
          <a:prstGeom prst="rect">
            <a:avLst/>
          </a:prstGeom>
        </p:spPr>
        <p:txBody>
          <a:bodyPr anchor="t"/>
          <a:lstStyle>
            <a:lvl1pPr algn="l">
              <a:defRPr sz="2000" b="1">
                <a:solidFill>
                  <a:schemeClr val="accent2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34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24.10.2023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13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" name="Obdélník 1"/>
          <p:cNvSpPr/>
          <p:nvPr userDrawn="1"/>
        </p:nvSpPr>
        <p:spPr>
          <a:xfrm>
            <a:off x="4699467" y="6450685"/>
            <a:ext cx="1995055" cy="2992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/>
          </a:p>
        </p:txBody>
      </p:sp>
    </p:spTree>
    <p:extLst>
      <p:ext uri="{BB962C8B-B14F-4D97-AF65-F5344CB8AC3E}">
        <p14:creationId xmlns:p14="http://schemas.microsoft.com/office/powerpoint/2010/main" val="295563142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>
            <a:extLst>
              <a:ext uri="{FF2B5EF4-FFF2-40B4-BE49-F238E27FC236}">
                <a16:creationId xmlns:a16="http://schemas.microsoft.com/office/drawing/2014/main" id="{63EA0E24-3DEE-4F9B-BE62-2C949AF5B0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12658"/>
            <a:ext cx="12192000" cy="4718304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EA7E5BF0-AE0D-4088-9249-900F92A0E8F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12658"/>
            <a:ext cx="12192000" cy="4718304"/>
          </a:xfrm>
          <a:prstGeom prst="rect">
            <a:avLst/>
          </a:prstGeom>
        </p:spPr>
      </p:pic>
      <p:pic>
        <p:nvPicPr>
          <p:cNvPr id="66" name="Obrázek 65" descr="cid:image001.jpg@01CED555.8CFAB4A0">
            <a:extLst>
              <a:ext uri="{FF2B5EF4-FFF2-40B4-BE49-F238E27FC236}">
                <a16:creationId xmlns:a16="http://schemas.microsoft.com/office/drawing/2014/main" id="{D17F3592-01D7-4B8C-BAC8-A15B8AA86699}"/>
              </a:ext>
            </a:extLst>
          </p:cNvPr>
          <p:cNvPicPr/>
          <p:nvPr userDrawn="1"/>
        </p:nvPicPr>
        <p:blipFill>
          <a:blip r:embed="rId4"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0159" y="6243595"/>
            <a:ext cx="4320480" cy="504056"/>
          </a:xfrm>
          <a:prstGeom prst="rect">
            <a:avLst/>
          </a:prstGeom>
          <a:noFill/>
          <a:ln>
            <a:noFill/>
          </a:ln>
        </p:spPr>
      </p:pic>
      <p:pic>
        <p:nvPicPr>
          <p:cNvPr id="67" name="Picture 9" descr="logo_mzcr">
            <a:extLst>
              <a:ext uri="{FF2B5EF4-FFF2-40B4-BE49-F238E27FC236}">
                <a16:creationId xmlns:a16="http://schemas.microsoft.com/office/drawing/2014/main" id="{285C40DD-D2EF-48E7-99A8-53B809A1EA9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677" y="137068"/>
            <a:ext cx="3896923" cy="343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Obdélník 6">
            <a:extLst>
              <a:ext uri="{FF2B5EF4-FFF2-40B4-BE49-F238E27FC236}">
                <a16:creationId xmlns:a16="http://schemas.microsoft.com/office/drawing/2014/main" id="{D4D1F535-DC44-479F-B5BD-92EA59F33323}"/>
              </a:ext>
            </a:extLst>
          </p:cNvPr>
          <p:cNvSpPr/>
          <p:nvPr userDrawn="1"/>
        </p:nvSpPr>
        <p:spPr>
          <a:xfrm>
            <a:off x="347463" y="1160781"/>
            <a:ext cx="5220082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cs-CZ" sz="2200" b="1" i="1" dirty="0">
                <a:solidFill>
                  <a:schemeClr val="bg1"/>
                </a:solidFill>
              </a:rPr>
              <a:t>Analytické studie programu Zdraví 2030: </a:t>
            </a:r>
            <a:r>
              <a:rPr lang="cs-CZ" sz="3400" b="1" dirty="0">
                <a:solidFill>
                  <a:schemeClr val="bg1"/>
                </a:solidFill>
              </a:rPr>
              <a:t>Kapacity a aktivita PLDD </a:t>
            </a:r>
          </a:p>
          <a:p>
            <a:pPr algn="l"/>
            <a:r>
              <a:rPr lang="cs-CZ" sz="3400" b="1" dirty="0">
                <a:solidFill>
                  <a:schemeClr val="bg1"/>
                </a:solidFill>
              </a:rPr>
              <a:t>a pediatrie</a:t>
            </a:r>
          </a:p>
        </p:txBody>
      </p:sp>
      <p:pic>
        <p:nvPicPr>
          <p:cNvPr id="4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8E98422F-1202-68B7-A6C5-FD1E3B50298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8032" y="87416"/>
            <a:ext cx="1252291" cy="487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632168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" name="Obrázek 193">
            <a:extLst>
              <a:ext uri="{FF2B5EF4-FFF2-40B4-BE49-F238E27FC236}">
                <a16:creationId xmlns:a16="http://schemas.microsoft.com/office/drawing/2014/main" id="{7028FA8A-4E11-48CC-8D75-F1D56BD1680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59277" y="1234929"/>
            <a:ext cx="11473666" cy="4852837"/>
          </a:xfrm>
          <a:prstGeom prst="rect">
            <a:avLst/>
          </a:prstGeom>
        </p:spPr>
      </p:pic>
      <p:sp>
        <p:nvSpPr>
          <p:cNvPr id="81" name="Obdélník 80">
            <a:extLst>
              <a:ext uri="{FF2B5EF4-FFF2-40B4-BE49-F238E27FC236}">
                <a16:creationId xmlns:a16="http://schemas.microsoft.com/office/drawing/2014/main" id="{40F2E09F-8544-4FF2-9F9A-AF0C8187713C}"/>
              </a:ext>
            </a:extLst>
          </p:cNvPr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chemeClr val="accent2"/>
              </a:solidFill>
            </a:endParaRPr>
          </a:p>
        </p:txBody>
      </p:sp>
      <p:sp>
        <p:nvSpPr>
          <p:cNvPr id="83" name="Obdélník 82">
            <a:extLst>
              <a:ext uri="{FF2B5EF4-FFF2-40B4-BE49-F238E27FC236}">
                <a16:creationId xmlns:a16="http://schemas.microsoft.com/office/drawing/2014/main" id="{5FE9660D-2B4A-4896-A4BF-330209511296}"/>
              </a:ext>
            </a:extLst>
          </p:cNvPr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chemeClr val="accent2"/>
              </a:solidFill>
            </a:endParaRPr>
          </a:p>
        </p:txBody>
      </p:sp>
      <p:pic>
        <p:nvPicPr>
          <p:cNvPr id="86" name="Obrázek 85">
            <a:extLst>
              <a:ext uri="{FF2B5EF4-FFF2-40B4-BE49-F238E27FC236}">
                <a16:creationId xmlns:a16="http://schemas.microsoft.com/office/drawing/2014/main" id="{0FCBE275-6212-4CD7-81E4-A8D7F2CA9EF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000" y="6186252"/>
            <a:ext cx="3763463" cy="324000"/>
          </a:xfrm>
          <a:prstGeom prst="rect">
            <a:avLst/>
          </a:prstGeom>
        </p:spPr>
      </p:pic>
      <p:sp>
        <p:nvSpPr>
          <p:cNvPr id="87" name="Volný tvar 6">
            <a:extLst>
              <a:ext uri="{FF2B5EF4-FFF2-40B4-BE49-F238E27FC236}">
                <a16:creationId xmlns:a16="http://schemas.microsoft.com/office/drawing/2014/main" id="{85C703E3-2B67-4C22-AC74-AE20B05EBAA9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gradFill flip="none" rotWithShape="1">
            <a:gsLst>
              <a:gs pos="0">
                <a:srgbClr val="AFEBEB"/>
              </a:gs>
              <a:gs pos="77000">
                <a:schemeClr val="bg1">
                  <a:alpha val="25000"/>
                </a:schemeClr>
              </a:gs>
              <a:gs pos="100000">
                <a:schemeClr val="bg1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88" name="Volný tvar 17">
            <a:extLst>
              <a:ext uri="{FF2B5EF4-FFF2-40B4-BE49-F238E27FC236}">
                <a16:creationId xmlns:a16="http://schemas.microsoft.com/office/drawing/2014/main" id="{2BD92B5F-BB92-4654-AEF1-C9A87A5248BF}"/>
              </a:ext>
            </a:extLst>
          </p:cNvPr>
          <p:cNvSpPr/>
          <p:nvPr userDrawn="1"/>
        </p:nvSpPr>
        <p:spPr>
          <a:xfrm rot="10800000">
            <a:off x="-1" y="4380806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gradFill flip="none" rotWithShape="1">
            <a:gsLst>
              <a:gs pos="0">
                <a:srgbClr val="AFEBEB"/>
              </a:gs>
              <a:gs pos="77000">
                <a:schemeClr val="bg1">
                  <a:alpha val="25000"/>
                </a:schemeClr>
              </a:gs>
              <a:gs pos="100000">
                <a:schemeClr val="bg1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89" name="Volný tvar 18">
            <a:extLst>
              <a:ext uri="{FF2B5EF4-FFF2-40B4-BE49-F238E27FC236}">
                <a16:creationId xmlns:a16="http://schemas.microsoft.com/office/drawing/2014/main" id="{C0623FAF-3EBE-4D32-9A7D-B3A292ACEE45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33CCCC">
              <a:alpha val="34902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rgbClr val="33CCCC"/>
              </a:solidFill>
            </a:endParaRPr>
          </a:p>
        </p:txBody>
      </p:sp>
      <p:sp>
        <p:nvSpPr>
          <p:cNvPr id="90" name="Volný tvar 19">
            <a:extLst>
              <a:ext uri="{FF2B5EF4-FFF2-40B4-BE49-F238E27FC236}">
                <a16:creationId xmlns:a16="http://schemas.microsoft.com/office/drawing/2014/main" id="{CF154488-7084-4B19-8834-F35893F3FCDA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424242">
              <a:alpha val="27843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92" name="Obdélník 91">
            <a:extLst>
              <a:ext uri="{FF2B5EF4-FFF2-40B4-BE49-F238E27FC236}">
                <a16:creationId xmlns:a16="http://schemas.microsoft.com/office/drawing/2014/main" id="{B832A41A-EB50-44F7-B334-F2DF1D43A948}"/>
              </a:ext>
            </a:extLst>
          </p:cNvPr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F606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chemeClr val="accent2"/>
              </a:solidFill>
            </a:endParaRPr>
          </a:p>
        </p:txBody>
      </p:sp>
      <p:sp>
        <p:nvSpPr>
          <p:cNvPr id="93" name="Obdélník 92">
            <a:extLst>
              <a:ext uri="{FF2B5EF4-FFF2-40B4-BE49-F238E27FC236}">
                <a16:creationId xmlns:a16="http://schemas.microsoft.com/office/drawing/2014/main" id="{541E5713-0979-4073-8195-8FDF98369170}"/>
              </a:ext>
            </a:extLst>
          </p:cNvPr>
          <p:cNvSpPr/>
          <p:nvPr userDrawn="1"/>
        </p:nvSpPr>
        <p:spPr>
          <a:xfrm>
            <a:off x="0" y="5861078"/>
            <a:ext cx="12192000" cy="45719"/>
          </a:xfrm>
          <a:prstGeom prst="rect">
            <a:avLst/>
          </a:prstGeom>
          <a:solidFill>
            <a:srgbClr val="D714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chemeClr val="accent2"/>
              </a:solidFill>
            </a:endParaRPr>
          </a:p>
        </p:txBody>
      </p:sp>
      <p:sp>
        <p:nvSpPr>
          <p:cNvPr id="97" name="Volný tvar 6">
            <a:extLst>
              <a:ext uri="{FF2B5EF4-FFF2-40B4-BE49-F238E27FC236}">
                <a16:creationId xmlns:a16="http://schemas.microsoft.com/office/drawing/2014/main" id="{F101B372-16FE-412A-8851-DDC17B987951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>
              <a:alpha val="3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98" name="Volný tvar 17">
            <a:extLst>
              <a:ext uri="{FF2B5EF4-FFF2-40B4-BE49-F238E27FC236}">
                <a16:creationId xmlns:a16="http://schemas.microsoft.com/office/drawing/2014/main" id="{84116201-11AF-45C9-812E-00D732D624D2}"/>
              </a:ext>
            </a:extLst>
          </p:cNvPr>
          <p:cNvSpPr/>
          <p:nvPr userDrawn="1"/>
        </p:nvSpPr>
        <p:spPr>
          <a:xfrm rot="10800000">
            <a:off x="-9428" y="4390233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99" name="Volný tvar 18">
            <a:extLst>
              <a:ext uri="{FF2B5EF4-FFF2-40B4-BE49-F238E27FC236}">
                <a16:creationId xmlns:a16="http://schemas.microsoft.com/office/drawing/2014/main" id="{14FAE423-4E6B-4C0C-B3D6-E597049BF65F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>
              <a:alpha val="4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rgbClr val="33CCCC"/>
              </a:solidFill>
            </a:endParaRPr>
          </a:p>
        </p:txBody>
      </p:sp>
      <p:sp>
        <p:nvSpPr>
          <p:cNvPr id="100" name="Volný tvar 19">
            <a:extLst>
              <a:ext uri="{FF2B5EF4-FFF2-40B4-BE49-F238E27FC236}">
                <a16:creationId xmlns:a16="http://schemas.microsoft.com/office/drawing/2014/main" id="{7995864E-5F17-4EF1-8C3D-368F128AAC04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01" name="Obdélník 100">
            <a:extLst>
              <a:ext uri="{FF2B5EF4-FFF2-40B4-BE49-F238E27FC236}">
                <a16:creationId xmlns:a16="http://schemas.microsoft.com/office/drawing/2014/main" id="{D4D1F535-DC44-479F-B5BD-92EA59F33323}"/>
              </a:ext>
            </a:extLst>
          </p:cNvPr>
          <p:cNvSpPr/>
          <p:nvPr userDrawn="1"/>
        </p:nvSpPr>
        <p:spPr>
          <a:xfrm>
            <a:off x="215022" y="180208"/>
            <a:ext cx="11430108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3400" b="1" dirty="0">
                <a:solidFill>
                  <a:srgbClr val="2E5980"/>
                </a:solidFill>
              </a:rPr>
              <a:t>STRATEGICKÉ ANALÝZY POTŘEB REZORTU ZDRAVOTNICTVÍ</a:t>
            </a:r>
          </a:p>
          <a:p>
            <a:r>
              <a:rPr lang="cs-CZ" sz="3400" b="1" dirty="0">
                <a:solidFill>
                  <a:srgbClr val="2E5980"/>
                </a:solidFill>
              </a:rPr>
              <a:t> – OPTIMALIZACE PERSONÁLNÍCH KAPACIT </a:t>
            </a:r>
          </a:p>
        </p:txBody>
      </p:sp>
      <p:sp>
        <p:nvSpPr>
          <p:cNvPr id="102" name="Obdélník 101">
            <a:extLst>
              <a:ext uri="{FF2B5EF4-FFF2-40B4-BE49-F238E27FC236}">
                <a16:creationId xmlns:a16="http://schemas.microsoft.com/office/drawing/2014/main" id="{287E00CA-1E7B-4E51-8D15-DA48E2226502}"/>
              </a:ext>
            </a:extLst>
          </p:cNvPr>
          <p:cNvSpPr/>
          <p:nvPr userDrawn="1"/>
        </p:nvSpPr>
        <p:spPr>
          <a:xfrm>
            <a:off x="584088" y="5729492"/>
            <a:ext cx="3676008" cy="3264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03" name="Zástupný symbol textu 4">
            <a:extLst>
              <a:ext uri="{FF2B5EF4-FFF2-40B4-BE49-F238E27FC236}">
                <a16:creationId xmlns:a16="http://schemas.microsoft.com/office/drawing/2014/main" id="{6733D971-AA31-4C2B-9864-62E324087CA3}"/>
              </a:ext>
            </a:extLst>
          </p:cNvPr>
          <p:cNvSpPr txBox="1">
            <a:spLocks/>
          </p:cNvSpPr>
          <p:nvPr userDrawn="1"/>
        </p:nvSpPr>
        <p:spPr>
          <a:xfrm>
            <a:off x="659277" y="5627645"/>
            <a:ext cx="5958339" cy="507256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s-CZ" sz="2800" dirty="0">
                <a:solidFill>
                  <a:srgbClr val="D71440"/>
                </a:solidFill>
              </a:rPr>
              <a:t>Kapacity a produkce PL a PLDD </a:t>
            </a:r>
          </a:p>
        </p:txBody>
      </p:sp>
      <p:pic>
        <p:nvPicPr>
          <p:cNvPr id="116" name="Picture 24">
            <a:extLst>
              <a:ext uri="{FF2B5EF4-FFF2-40B4-BE49-F238E27FC236}">
                <a16:creationId xmlns:a16="http://schemas.microsoft.com/office/drawing/2014/main" id="{5C9258A4-B5C3-4786-8A29-365C62CE39AF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1340046" y="1342772"/>
            <a:ext cx="592937" cy="3976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7" name="Obrázek 116">
            <a:extLst>
              <a:ext uri="{FF2B5EF4-FFF2-40B4-BE49-F238E27FC236}">
                <a16:creationId xmlns:a16="http://schemas.microsoft.com/office/drawing/2014/main" id="{26B2A134-C899-4F60-BA30-9405C93E7A1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0701" y="1259484"/>
            <a:ext cx="574173" cy="574173"/>
          </a:xfrm>
          <a:prstGeom prst="rect">
            <a:avLst/>
          </a:prstGeom>
        </p:spPr>
      </p:pic>
      <p:pic>
        <p:nvPicPr>
          <p:cNvPr id="24" name="Obrázek 23" descr="cid:image001.jpg@01CED555.8CFAB4A0">
            <a:extLst>
              <a:ext uri="{FF2B5EF4-FFF2-40B4-BE49-F238E27FC236}">
                <a16:creationId xmlns:a16="http://schemas.microsoft.com/office/drawing/2014/main" id="{D17F3592-01D7-4B8C-BAC8-A15B8AA86699}"/>
              </a:ext>
            </a:extLst>
          </p:cNvPr>
          <p:cNvPicPr/>
          <p:nvPr userDrawn="1"/>
        </p:nvPicPr>
        <p:blipFill>
          <a:blip r:embed="rId7"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0159" y="6119770"/>
            <a:ext cx="4320480" cy="504056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ECEEE644-BC03-4930-9406-A18BB3FDE8F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8823626" y="4199123"/>
            <a:ext cx="3200677" cy="2499577"/>
          </a:xfrm>
          <a:prstGeom prst="rect">
            <a:avLst/>
          </a:prstGeom>
        </p:spPr>
      </p:pic>
      <p:pic>
        <p:nvPicPr>
          <p:cNvPr id="2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599E2628-098A-6702-736C-CDA5BB2A0ED6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9811" y="1322586"/>
            <a:ext cx="1252291" cy="487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780766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>
            <a:extLst>
              <a:ext uri="{FF2B5EF4-FFF2-40B4-BE49-F238E27FC236}">
                <a16:creationId xmlns:a16="http://schemas.microsoft.com/office/drawing/2014/main" id="{63EA0E24-3DEE-4F9B-BE62-2C949AF5B0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12658"/>
            <a:ext cx="12192000" cy="4718304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EA7E5BF0-AE0D-4088-9249-900F92A0E8F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12658"/>
            <a:ext cx="12192000" cy="4718304"/>
          </a:xfrm>
          <a:prstGeom prst="rect">
            <a:avLst/>
          </a:prstGeom>
        </p:spPr>
      </p:pic>
      <p:pic>
        <p:nvPicPr>
          <p:cNvPr id="66" name="Obrázek 65" descr="cid:image001.jpg@01CED555.8CFAB4A0">
            <a:extLst>
              <a:ext uri="{FF2B5EF4-FFF2-40B4-BE49-F238E27FC236}">
                <a16:creationId xmlns:a16="http://schemas.microsoft.com/office/drawing/2014/main" id="{D17F3592-01D7-4B8C-BAC8-A15B8AA86699}"/>
              </a:ext>
            </a:extLst>
          </p:cNvPr>
          <p:cNvPicPr/>
          <p:nvPr userDrawn="1"/>
        </p:nvPicPr>
        <p:blipFill>
          <a:blip r:embed="rId4"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0159" y="6243595"/>
            <a:ext cx="4320480" cy="504056"/>
          </a:xfrm>
          <a:prstGeom prst="rect">
            <a:avLst/>
          </a:prstGeom>
          <a:noFill/>
          <a:ln>
            <a:noFill/>
          </a:ln>
        </p:spPr>
      </p:pic>
      <p:pic>
        <p:nvPicPr>
          <p:cNvPr id="67" name="Picture 9" descr="logo_mzcr">
            <a:extLst>
              <a:ext uri="{FF2B5EF4-FFF2-40B4-BE49-F238E27FC236}">
                <a16:creationId xmlns:a16="http://schemas.microsoft.com/office/drawing/2014/main" id="{285C40DD-D2EF-48E7-99A8-53B809A1EA9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677" y="137068"/>
            <a:ext cx="3896923" cy="343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Obdélník 6">
            <a:extLst>
              <a:ext uri="{FF2B5EF4-FFF2-40B4-BE49-F238E27FC236}">
                <a16:creationId xmlns:a16="http://schemas.microsoft.com/office/drawing/2014/main" id="{D4D1F535-DC44-479F-B5BD-92EA59F33323}"/>
              </a:ext>
            </a:extLst>
          </p:cNvPr>
          <p:cNvSpPr/>
          <p:nvPr userDrawn="1"/>
        </p:nvSpPr>
        <p:spPr>
          <a:xfrm>
            <a:off x="347463" y="1160781"/>
            <a:ext cx="5220082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cs-CZ" sz="2200" b="1" i="1" dirty="0">
                <a:solidFill>
                  <a:schemeClr val="bg1"/>
                </a:solidFill>
              </a:rPr>
              <a:t>Analytické studie programu Zdraví 2030: </a:t>
            </a:r>
            <a:r>
              <a:rPr lang="cs-CZ" sz="3400" b="1" dirty="0">
                <a:solidFill>
                  <a:schemeClr val="bg1"/>
                </a:solidFill>
              </a:rPr>
              <a:t>Kapacity a aktivita PLDD </a:t>
            </a:r>
          </a:p>
          <a:p>
            <a:pPr algn="l"/>
            <a:r>
              <a:rPr lang="cs-CZ" sz="3400" b="1" dirty="0">
                <a:solidFill>
                  <a:schemeClr val="bg1"/>
                </a:solidFill>
              </a:rPr>
              <a:t>a pediatrie</a:t>
            </a:r>
          </a:p>
        </p:txBody>
      </p:sp>
      <p:pic>
        <p:nvPicPr>
          <p:cNvPr id="4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8E98422F-1202-68B7-A6C5-FD1E3B50298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8032" y="87416"/>
            <a:ext cx="1252291" cy="487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6416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Volný tvar 6">
            <a:extLst>
              <a:ext uri="{FF2B5EF4-FFF2-40B4-BE49-F238E27FC236}">
                <a16:creationId xmlns:a16="http://schemas.microsoft.com/office/drawing/2014/main" id="{9C4E3F5D-17FE-4F11-BF0B-55FCB20C5B12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1" name="Volný tvar 17">
            <a:extLst>
              <a:ext uri="{FF2B5EF4-FFF2-40B4-BE49-F238E27FC236}">
                <a16:creationId xmlns:a16="http://schemas.microsoft.com/office/drawing/2014/main" id="{D48C225E-8000-42E1-8A87-FBEBB02FC061}"/>
              </a:ext>
            </a:extLst>
          </p:cNvPr>
          <p:cNvSpPr/>
          <p:nvPr userDrawn="1"/>
        </p:nvSpPr>
        <p:spPr>
          <a:xfrm rot="10800000">
            <a:off x="-9428" y="4390233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2" name="Volný tvar 18">
            <a:extLst>
              <a:ext uri="{FF2B5EF4-FFF2-40B4-BE49-F238E27FC236}">
                <a16:creationId xmlns:a16="http://schemas.microsoft.com/office/drawing/2014/main" id="{E8850329-92A2-4C8B-8B48-BF3BBCB09972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rgbClr val="33CCCC"/>
              </a:solidFill>
            </a:endParaRPr>
          </a:p>
        </p:txBody>
      </p:sp>
      <p:sp>
        <p:nvSpPr>
          <p:cNvPr id="73" name="Volný tvar 19">
            <a:extLst>
              <a:ext uri="{FF2B5EF4-FFF2-40B4-BE49-F238E27FC236}">
                <a16:creationId xmlns:a16="http://schemas.microsoft.com/office/drawing/2014/main" id="{33F7304C-8B0F-401C-BBB8-0F87B5779B2B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77788453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Volný tvar 17">
            <a:extLst>
              <a:ext uri="{FF2B5EF4-FFF2-40B4-BE49-F238E27FC236}">
                <a16:creationId xmlns:a16="http://schemas.microsoft.com/office/drawing/2014/main" id="{F9DF11D7-C1A0-46F5-B20A-EE3A4700E45D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4" name="Volný tvar 19">
            <a:extLst>
              <a:ext uri="{FF2B5EF4-FFF2-40B4-BE49-F238E27FC236}">
                <a16:creationId xmlns:a16="http://schemas.microsoft.com/office/drawing/2014/main" id="{DA5EF6B5-1015-4E5F-BC7C-2B0B40DC4C74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89313286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0628AA9-0270-4466-AEE4-743C6F6BCD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098766C-C37F-4567-9F2C-A4B585D0B6F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233CD7C-50DC-4ECE-AB8C-2F9F189E0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24.10.2023</a:t>
            </a:fld>
            <a:endParaRPr lang="cs-CZ" dirty="0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CE71133-EA5C-42EA-9E5B-F6899631D1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6EB4E4BE-77B6-4193-B096-DCEE3DB389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07814829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328CA8B-BE17-4E8E-BA21-5C708B05C0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B86EB976-B52F-4E70-BBEC-C16C4DA365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F0C9C5FA-8A58-4277-A372-519F039FD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24.10.2023</a:t>
            </a:fld>
            <a:endParaRPr lang="cs-CZ" dirty="0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D0A4BF4-D40A-4D0B-BC1B-8FB80ED05B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555A1A0-AD5B-4C95-BAFF-47E2F5A4A3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76861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B81D8E1-CB62-40C4-83D2-92BAEB210B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E09D1D8C-9B39-4E39-A638-642D450725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BCDC7B5-D0C7-4CB3-8FEB-7B23A2E627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4C4EA-BBB6-4509-82FD-6C1C4C05004B}" type="datetimeFigureOut">
              <a:rPr lang="cs-CZ" smtClean="0"/>
              <a:t>24.10.2023</a:t>
            </a:fld>
            <a:endParaRPr lang="cs-CZ" dirty="0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77CE669-E87B-4076-8BF7-B5F8FACF93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9386F5D0-1905-4A90-AA87-EF399F118E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BA2347-4413-44E4-972F-4B947EE9AB0F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55138093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277A5EC-DCF3-4316-AAF9-593891F155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80E2C95-7248-4E58-95A4-5C701F280FD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C8EFFA53-665F-4953-B32A-12133A2A98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7BCA4233-D784-46DD-A1AD-4152E21E03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24.10.2023</a:t>
            </a:fld>
            <a:endParaRPr lang="cs-CZ" dirty="0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BE85684D-BE59-4E04-BE98-A785CC64EF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021854D-6B80-4FB9-9CFC-9B304DA8E9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67940891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24D1B7E-0F7A-48FF-80C4-2C5F31EE86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3E874446-8942-495E-93DB-784F144CCC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AF267A43-2030-465F-AE0C-283CAF1556E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FDFD93F-F2A2-42A7-9EDB-BA58F8C98E4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3B9F1699-C431-4C57-A22C-6828F38DC32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3D1BA643-00CC-4CB6-A102-96700A2948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24.10.2023</a:t>
            </a:fld>
            <a:endParaRPr lang="cs-CZ" dirty="0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529C33A4-481B-476E-BA47-9035B5F725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48FED13E-2988-4324-B670-BCEC1AAF10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05364124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B59216-F6BD-41DB-8B58-4DBD6F78B3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A086BD3-60BD-4510-BFCD-6FD8FF675D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24.10.2023</a:t>
            </a:fld>
            <a:endParaRPr lang="cs-CZ" dirty="0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E831CCE1-A76C-42B2-A3B8-61F4A78C60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12D9ECAF-09A6-4E6E-988F-94DAE95CF8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08364144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3A5116D5-D10D-4780-8DE3-E263AD5C3B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24.10.2023</a:t>
            </a:fld>
            <a:endParaRPr lang="cs-CZ" dirty="0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C0CB6E23-B354-4679-9857-1042E08443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B3F9D63A-A61B-4C7A-AE07-9A88CDEB61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20428586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6423551-D153-4217-A154-4407A5B5F7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77416EEB-8CE6-4497-BFA3-F99CC0D176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5DD2D91-6CED-4D5D-90BC-1170E288644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87CD6761-29DF-4455-9076-0459A1991A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24.10.2023</a:t>
            </a:fld>
            <a:endParaRPr lang="cs-CZ" dirty="0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8557E6A1-1563-4E8F-97AB-B963948811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3846D3B-0330-4216-A3E4-28A8634115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94661552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70D4BE5-19B7-49D5-8B48-E9CCECB051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F41C0DCF-3D3D-40E5-9127-BB856F35324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 dirty="0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6734A7E9-778A-493F-86D4-6A7719CA6B7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F7852D4C-AA02-44EC-AAA8-C261F839BE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24.10.2023</a:t>
            </a:fld>
            <a:endParaRPr lang="cs-CZ" dirty="0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CCEA8B9-0632-4DC0-BA34-8F44709562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29B75481-B9F9-4C7F-93D3-F3E6781040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08143762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1027C9B-34FC-4CEF-A0D2-FE608DB0C9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97DE946A-16C9-4D5E-9125-FDC4FC0E303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58D8B166-2654-4599-81CD-090450DCBD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24.10.2023</a:t>
            </a:fld>
            <a:endParaRPr lang="cs-CZ" dirty="0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7E545EFA-9E6A-445E-8D63-AA5C6DACA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D78E511-8C01-48B0-86BA-51C6AEA959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34651323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4A84DCF3-1782-4C08-96B2-D43EBCE1DA4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F68719A1-DC72-431A-9D4E-96FA10E29BB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0005688-EA75-4393-9E80-A1CE893986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24.10.2023</a:t>
            </a:fld>
            <a:endParaRPr lang="cs-CZ" dirty="0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97F067B-09AF-4046-BACD-D60555ECB6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CEB7427-BEE7-4670-92C0-022D2034AE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53284393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6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bdélník 14"/>
          <p:cNvSpPr/>
          <p:nvPr userDrawn="1"/>
        </p:nvSpPr>
        <p:spPr>
          <a:xfrm>
            <a:off x="922421" y="6549098"/>
            <a:ext cx="82256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 dirty="0">
                <a:solidFill>
                  <a:schemeClr val="accent5">
                    <a:lumMod val="50000"/>
                  </a:schemeClr>
                </a:solidFill>
              </a:rPr>
              <a:t>Strategický rámec rozvoje péče o zdraví v České republice do roku 2030: analytická studie pro regiony ČR</a:t>
            </a:r>
            <a:endParaRPr lang="en-US" sz="1200" b="1" i="0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11876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12" name="Obrázek 9">
            <a:extLst>
              <a:ext uri="{FF2B5EF4-FFF2-40B4-BE49-F238E27FC236}">
                <a16:creationId xmlns:a16="http://schemas.microsoft.com/office/drawing/2014/main" id="{9857DA43-5F3B-40A4-B7DD-7FB1D1A723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9768" y="177453"/>
            <a:ext cx="1470213" cy="352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8569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BFCD7AF-B4BF-4BFA-81CF-78B3DB8D9F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2FA837B-A771-4DF5-889E-9002F57C9E2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583CF14B-5E02-4543-93F1-97608E50378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1B4625FA-DA7D-4C3A-9CE6-E57B43617A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4C4EA-BBB6-4509-82FD-6C1C4C05004B}" type="datetimeFigureOut">
              <a:rPr lang="cs-CZ" smtClean="0"/>
              <a:t>24.10.2023</a:t>
            </a:fld>
            <a:endParaRPr lang="cs-CZ" dirty="0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600883D-4DBF-4C0F-8FF7-6124629E24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3F352F66-0D29-4EB6-BFCF-30872D10A9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BA2347-4413-44E4-972F-4B947EE9AB0F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08894902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>
            <a:extLst>
              <a:ext uri="{FF2B5EF4-FFF2-40B4-BE49-F238E27FC236}">
                <a16:creationId xmlns:a16="http://schemas.microsoft.com/office/drawing/2014/main" id="{63EA0E24-3DEE-4F9B-BE62-2C949AF5B0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12658"/>
            <a:ext cx="12192000" cy="4718304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EA7E5BF0-AE0D-4088-9249-900F92A0E8F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12658"/>
            <a:ext cx="12192000" cy="4718304"/>
          </a:xfrm>
          <a:prstGeom prst="rect">
            <a:avLst/>
          </a:prstGeom>
        </p:spPr>
      </p:pic>
      <p:pic>
        <p:nvPicPr>
          <p:cNvPr id="66" name="Obrázek 65" descr="cid:image001.jpg@01CED555.8CFAB4A0">
            <a:extLst>
              <a:ext uri="{FF2B5EF4-FFF2-40B4-BE49-F238E27FC236}">
                <a16:creationId xmlns:a16="http://schemas.microsoft.com/office/drawing/2014/main" id="{D17F3592-01D7-4B8C-BAC8-A15B8AA86699}"/>
              </a:ext>
            </a:extLst>
          </p:cNvPr>
          <p:cNvPicPr/>
          <p:nvPr userDrawn="1"/>
        </p:nvPicPr>
        <p:blipFill>
          <a:blip r:embed="rId4"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0159" y="6243595"/>
            <a:ext cx="4320480" cy="504056"/>
          </a:xfrm>
          <a:prstGeom prst="rect">
            <a:avLst/>
          </a:prstGeom>
          <a:noFill/>
          <a:ln>
            <a:noFill/>
          </a:ln>
        </p:spPr>
      </p:pic>
      <p:pic>
        <p:nvPicPr>
          <p:cNvPr id="67" name="Picture 9" descr="logo_mzcr">
            <a:extLst>
              <a:ext uri="{FF2B5EF4-FFF2-40B4-BE49-F238E27FC236}">
                <a16:creationId xmlns:a16="http://schemas.microsoft.com/office/drawing/2014/main" id="{285C40DD-D2EF-48E7-99A8-53B809A1EA9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677" y="137068"/>
            <a:ext cx="3896923" cy="343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Obdélník 6">
            <a:extLst>
              <a:ext uri="{FF2B5EF4-FFF2-40B4-BE49-F238E27FC236}">
                <a16:creationId xmlns:a16="http://schemas.microsoft.com/office/drawing/2014/main" id="{D4D1F535-DC44-479F-B5BD-92EA59F33323}"/>
              </a:ext>
            </a:extLst>
          </p:cNvPr>
          <p:cNvSpPr/>
          <p:nvPr userDrawn="1"/>
        </p:nvSpPr>
        <p:spPr>
          <a:xfrm>
            <a:off x="347463" y="1160781"/>
            <a:ext cx="5220082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cs-CZ" sz="2200" b="1" i="1" dirty="0">
                <a:solidFill>
                  <a:schemeClr val="bg1"/>
                </a:solidFill>
              </a:rPr>
              <a:t>Analytické studie programu Zdraví 2030: </a:t>
            </a:r>
            <a:r>
              <a:rPr lang="cs-CZ" sz="3400" b="1" dirty="0">
                <a:solidFill>
                  <a:schemeClr val="bg1"/>
                </a:solidFill>
              </a:rPr>
              <a:t>Kapacity a aktivita PLDD </a:t>
            </a:r>
          </a:p>
          <a:p>
            <a:pPr algn="l"/>
            <a:r>
              <a:rPr lang="cs-CZ" sz="3400" b="1" dirty="0">
                <a:solidFill>
                  <a:schemeClr val="bg1"/>
                </a:solidFill>
              </a:rPr>
              <a:t>a pediatrie</a:t>
            </a:r>
          </a:p>
        </p:txBody>
      </p:sp>
      <p:pic>
        <p:nvPicPr>
          <p:cNvPr id="4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8E98422F-1202-68B7-A6C5-FD1E3B50298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8032" y="87416"/>
            <a:ext cx="1252291" cy="487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64392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 bez 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B0EA1196-9961-0CE1-CDDC-BC0A0A831348}"/>
              </a:ext>
            </a:extLst>
          </p:cNvPr>
          <p:cNvSpPr/>
          <p:nvPr userDrawn="1"/>
        </p:nvSpPr>
        <p:spPr>
          <a:xfrm>
            <a:off x="8179177" y="1836751"/>
            <a:ext cx="4012822" cy="226612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E1C24FCE-B5F4-1607-CE4C-7BB985D4D69C}"/>
              </a:ext>
            </a:extLst>
          </p:cNvPr>
          <p:cNvSpPr/>
          <p:nvPr userDrawn="1"/>
        </p:nvSpPr>
        <p:spPr>
          <a:xfrm>
            <a:off x="4008438" y="6139116"/>
            <a:ext cx="8183561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1" name="Zástupný symbol obrázku 18">
            <a:extLst>
              <a:ext uri="{FF2B5EF4-FFF2-40B4-BE49-F238E27FC236}">
                <a16:creationId xmlns:a16="http://schemas.microsoft.com/office/drawing/2014/main" id="{99B66AE2-A041-66B4-7E5D-3FA96F03637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836751"/>
            <a:ext cx="7983110" cy="2266122"/>
          </a:xfrm>
        </p:spPr>
        <p:txBody>
          <a:bodyPr/>
          <a:lstStyle/>
          <a:p>
            <a:r>
              <a:rPr lang="cs-CZ" dirty="0"/>
              <a:t>Kliknutím na ikonu přidáte obrázek.</a:t>
            </a: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464757BA-A864-68A5-98E0-EE29537C5C23}"/>
              </a:ext>
            </a:extLst>
          </p:cNvPr>
          <p:cNvSpPr/>
          <p:nvPr userDrawn="1"/>
        </p:nvSpPr>
        <p:spPr>
          <a:xfrm>
            <a:off x="0" y="898082"/>
            <a:ext cx="4012822" cy="47291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0" name="Zástupný text 8">
            <a:extLst>
              <a:ext uri="{FF2B5EF4-FFF2-40B4-BE49-F238E27FC236}">
                <a16:creationId xmlns:a16="http://schemas.microsoft.com/office/drawing/2014/main" id="{E376B32F-E5DE-DC67-38D4-9F6BC06AA3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52193" y="898082"/>
            <a:ext cx="1341659" cy="472912"/>
          </a:xfrm>
        </p:spPr>
        <p:txBody>
          <a:bodyPr lIns="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</a:t>
            </a:r>
          </a:p>
        </p:txBody>
      </p:sp>
      <p:sp>
        <p:nvSpPr>
          <p:cNvPr id="21" name="Podnadpis 2">
            <a:extLst>
              <a:ext uri="{FF2B5EF4-FFF2-40B4-BE49-F238E27FC236}">
                <a16:creationId xmlns:a16="http://schemas.microsoft.com/office/drawing/2014/main" id="{F4C776B3-4CCE-A58A-F1D7-0A28E6CF083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10400" y="5526157"/>
            <a:ext cx="7476890" cy="479685"/>
          </a:xfrm>
        </p:spPr>
        <p:txBody>
          <a:bodyPr lIns="0">
            <a:normAutofit/>
          </a:bodyPr>
          <a:lstStyle>
            <a:lvl1pPr marL="0" indent="0" algn="l">
              <a:buNone/>
              <a:defRPr sz="1800" b="1"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sp>
        <p:nvSpPr>
          <p:cNvPr id="22" name="Nadpis 1">
            <a:extLst>
              <a:ext uri="{FF2B5EF4-FFF2-40B4-BE49-F238E27FC236}">
                <a16:creationId xmlns:a16="http://schemas.microsoft.com/office/drawing/2014/main" id="{EB6D2B52-8FDF-959F-1993-F3A38DC7CD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5298" y="4102873"/>
            <a:ext cx="11140867" cy="1290010"/>
          </a:xfrm>
        </p:spPr>
        <p:txBody>
          <a:bodyPr lIns="0" anchor="b">
            <a:normAutofit/>
          </a:bodyPr>
          <a:lstStyle>
            <a:lvl1pPr algn="l">
              <a:defRPr sz="3600" b="0" cap="all" baseline="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A8206657-5283-91B4-9056-621C120F4230}"/>
              </a:ext>
            </a:extLst>
          </p:cNvPr>
          <p:cNvSpPr txBox="1"/>
          <p:nvPr userDrawn="1"/>
        </p:nvSpPr>
        <p:spPr>
          <a:xfrm>
            <a:off x="4008439" y="6314450"/>
            <a:ext cx="1696075" cy="369332"/>
          </a:xfrm>
          <a:prstGeom prst="rect">
            <a:avLst/>
          </a:prstGeom>
          <a:noFill/>
        </p:spPr>
        <p:txBody>
          <a:bodyPr wrap="square" lIns="180000" rtlCol="0" anchor="ctr">
            <a:spAutoFit/>
          </a:bodyPr>
          <a:lstStyle/>
          <a:p>
            <a:pPr algn="l"/>
            <a:r>
              <a:rPr lang="cs-CZ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uzis.cz</a:t>
            </a:r>
          </a:p>
        </p:txBody>
      </p:sp>
      <p:pic>
        <p:nvPicPr>
          <p:cNvPr id="3" name="Grafický objekt 2">
            <a:extLst>
              <a:ext uri="{FF2B5EF4-FFF2-40B4-BE49-F238E27FC236}">
                <a16:creationId xmlns:a16="http://schemas.microsoft.com/office/drawing/2014/main" id="{60C2D746-B350-B3D1-B583-67495AA8EC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79546" y="2374086"/>
            <a:ext cx="1808469" cy="1188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51774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2525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 pro dlouhé nadpisy s delším zápat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F0DFC75-CB5E-1EEA-D9B4-7EC06251795B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645298" y="1836750"/>
            <a:ext cx="6796299" cy="2266122"/>
          </a:xfrm>
        </p:spPr>
        <p:txBody>
          <a:bodyPr lIns="0" tIns="0" rIns="0" anchor="t">
            <a:normAutofit/>
          </a:bodyPr>
          <a:lstStyle>
            <a:lvl1pPr algn="l">
              <a:defRPr sz="3600" b="0" cap="all" baseline="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0F21DCDB-F1EB-1E1C-315D-D1C0C86AC8D5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4010400" y="5526157"/>
            <a:ext cx="7440419" cy="479685"/>
          </a:xfrm>
        </p:spPr>
        <p:txBody>
          <a:bodyPr lIns="0">
            <a:normAutofit/>
          </a:bodyPr>
          <a:lstStyle>
            <a:lvl1pPr marL="0" indent="0" algn="l">
              <a:buNone/>
              <a:defRPr sz="1800" b="1"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465C2995-4096-1BF2-0903-15EDC1EDC11A}"/>
              </a:ext>
            </a:extLst>
          </p:cNvPr>
          <p:cNvSpPr/>
          <p:nvPr userDrawn="1"/>
        </p:nvSpPr>
        <p:spPr>
          <a:xfrm>
            <a:off x="8177370" y="1836751"/>
            <a:ext cx="4012822" cy="226612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1C1BBF3A-0FFA-4C73-702B-0F8640E40029}"/>
              </a:ext>
            </a:extLst>
          </p:cNvPr>
          <p:cNvSpPr/>
          <p:nvPr userDrawn="1"/>
        </p:nvSpPr>
        <p:spPr>
          <a:xfrm>
            <a:off x="0" y="898082"/>
            <a:ext cx="4012822" cy="47291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A4CF060D-402A-3C18-EAD2-E58A46DE1C5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52193" y="898082"/>
            <a:ext cx="1341659" cy="472912"/>
          </a:xfrm>
        </p:spPr>
        <p:txBody>
          <a:bodyPr lIns="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BA1B02D6-A85A-D348-E417-8F557EAE71A4}"/>
              </a:ext>
            </a:extLst>
          </p:cNvPr>
          <p:cNvSpPr/>
          <p:nvPr userDrawn="1"/>
        </p:nvSpPr>
        <p:spPr>
          <a:xfrm>
            <a:off x="4008438" y="6139116"/>
            <a:ext cx="8183561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96A6C86E-36F8-90F4-57DC-BF054B7F522D}"/>
              </a:ext>
            </a:extLst>
          </p:cNvPr>
          <p:cNvSpPr txBox="1"/>
          <p:nvPr userDrawn="1"/>
        </p:nvSpPr>
        <p:spPr>
          <a:xfrm>
            <a:off x="4008439" y="6314450"/>
            <a:ext cx="1696075" cy="369332"/>
          </a:xfrm>
          <a:prstGeom prst="rect">
            <a:avLst/>
          </a:prstGeom>
          <a:noFill/>
        </p:spPr>
        <p:txBody>
          <a:bodyPr wrap="square" lIns="180000" rtlCol="0" anchor="ctr">
            <a:spAutoFit/>
          </a:bodyPr>
          <a:lstStyle/>
          <a:p>
            <a:pPr algn="l"/>
            <a:r>
              <a:rPr lang="cs-CZ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uzis.cz</a:t>
            </a:r>
          </a:p>
        </p:txBody>
      </p:sp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8DDFE30B-EC7B-D6B1-A86E-3AC1CB8182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79546" y="2374086"/>
            <a:ext cx="1808469" cy="1188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22116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3840">
          <p15:clr>
            <a:srgbClr val="FBAE40"/>
          </p15:clr>
        </p15:guide>
        <p15:guide id="4" pos="393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1DAF197-0F70-E0BF-5CA5-CDDA97864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9" y="365126"/>
            <a:ext cx="10728323" cy="1260000"/>
          </a:xfrm>
        </p:spPr>
        <p:txBody>
          <a:bodyPr lIns="0">
            <a:normAutofit/>
          </a:bodyPr>
          <a:lstStyle>
            <a:lvl1pPr>
              <a:defRPr sz="2400">
                <a:latin typeface="+mj-lt"/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86EFECB8-37A1-1162-F90E-485C0D94B166}"/>
              </a:ext>
            </a:extLst>
          </p:cNvPr>
          <p:cNvSpPr/>
          <p:nvPr userDrawn="1"/>
        </p:nvSpPr>
        <p:spPr>
          <a:xfrm>
            <a:off x="0" y="0"/>
            <a:ext cx="609600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D42D85A1-CE0E-3796-3FB6-1A1B847697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3637" y="6294874"/>
            <a:ext cx="639692" cy="396000"/>
          </a:xfrm>
          <a:prstGeom prst="rect">
            <a:avLst/>
          </a:prstGeom>
        </p:spPr>
      </p:pic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40DDB638-C173-6D3F-FF1A-66447260C8A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31838" y="1664060"/>
            <a:ext cx="5364160" cy="4428000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6" name="Zástupný obsah 3">
            <a:extLst>
              <a:ext uri="{FF2B5EF4-FFF2-40B4-BE49-F238E27FC236}">
                <a16:creationId xmlns:a16="http://schemas.microsoft.com/office/drawing/2014/main" id="{8DC35049-3AA5-9643-A289-66951EBEC2D7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3" y="1660885"/>
            <a:ext cx="5364160" cy="4428000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lang="cs-CZ" sz="24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17CF36DE-E5A0-4148-9D06-AE68A4EDD0A7}"/>
              </a:ext>
            </a:extLst>
          </p:cNvPr>
          <p:cNvSpPr/>
          <p:nvPr userDrawn="1"/>
        </p:nvSpPr>
        <p:spPr>
          <a:xfrm>
            <a:off x="731838" y="6144231"/>
            <a:ext cx="1083291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3" name="Grafický objekt 2">
            <a:extLst>
              <a:ext uri="{FF2B5EF4-FFF2-40B4-BE49-F238E27FC236}">
                <a16:creationId xmlns:a16="http://schemas.microsoft.com/office/drawing/2014/main" id="{15C055A8-9BFF-B4B4-1ADC-563185AE78F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3266" y="6306885"/>
            <a:ext cx="600434" cy="39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697299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adpis, 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1DAF197-0F70-E0BF-5CA5-CDDA97864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9" y="365126"/>
            <a:ext cx="10728323" cy="1260000"/>
          </a:xfrm>
        </p:spPr>
        <p:txBody>
          <a:bodyPr lIns="0">
            <a:normAutofit/>
          </a:bodyPr>
          <a:lstStyle>
            <a:lvl1pPr>
              <a:defRPr sz="2400">
                <a:latin typeface="+mj-lt"/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86EFECB8-37A1-1162-F90E-485C0D94B166}"/>
              </a:ext>
            </a:extLst>
          </p:cNvPr>
          <p:cNvSpPr/>
          <p:nvPr userDrawn="1"/>
        </p:nvSpPr>
        <p:spPr>
          <a:xfrm>
            <a:off x="0" y="0"/>
            <a:ext cx="609600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D42D85A1-CE0E-3796-3FB6-1A1B847697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3637" y="6294874"/>
            <a:ext cx="639692" cy="396000"/>
          </a:xfrm>
          <a:prstGeom prst="rect">
            <a:avLst/>
          </a:prstGeom>
        </p:spPr>
      </p:pic>
      <p:sp>
        <p:nvSpPr>
          <p:cNvPr id="11" name="Obdélník 10">
            <a:extLst>
              <a:ext uri="{FF2B5EF4-FFF2-40B4-BE49-F238E27FC236}">
                <a16:creationId xmlns:a16="http://schemas.microsoft.com/office/drawing/2014/main" id="{17CF36DE-E5A0-4148-9D06-AE68A4EDD0A7}"/>
              </a:ext>
            </a:extLst>
          </p:cNvPr>
          <p:cNvSpPr/>
          <p:nvPr userDrawn="1"/>
        </p:nvSpPr>
        <p:spPr>
          <a:xfrm>
            <a:off x="731838" y="6144231"/>
            <a:ext cx="1083291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F7C907C2-9865-F831-E11B-10851B62F54E}"/>
              </a:ext>
            </a:extLst>
          </p:cNvPr>
          <p:cNvSpPr/>
          <p:nvPr userDrawn="1"/>
        </p:nvSpPr>
        <p:spPr>
          <a:xfrm>
            <a:off x="8197516" y="6144231"/>
            <a:ext cx="3994484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5" name="Zástupný text 8">
            <a:extLst>
              <a:ext uri="{FF2B5EF4-FFF2-40B4-BE49-F238E27FC236}">
                <a16:creationId xmlns:a16="http://schemas.microsoft.com/office/drawing/2014/main" id="{EFFFA6D3-91F9-3F5B-5F1D-EB6A778A44D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97517" y="6138000"/>
            <a:ext cx="3994484" cy="719999"/>
          </a:xfrm>
        </p:spPr>
        <p:txBody>
          <a:bodyPr lIns="18000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, www…</a:t>
            </a:r>
          </a:p>
        </p:txBody>
      </p:sp>
      <p:pic>
        <p:nvPicPr>
          <p:cNvPr id="8" name="Grafický objekt 7">
            <a:extLst>
              <a:ext uri="{FF2B5EF4-FFF2-40B4-BE49-F238E27FC236}">
                <a16:creationId xmlns:a16="http://schemas.microsoft.com/office/drawing/2014/main" id="{B1C34C3C-D97E-0713-0364-9C8BE2A054A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3266" y="6306885"/>
            <a:ext cx="600434" cy="394691"/>
          </a:xfrm>
          <a:prstGeom prst="rect">
            <a:avLst/>
          </a:prstGeom>
        </p:spPr>
      </p:pic>
      <p:sp>
        <p:nvSpPr>
          <p:cNvPr id="9" name="Zástupný obsah 3">
            <a:extLst>
              <a:ext uri="{FF2B5EF4-FFF2-40B4-BE49-F238E27FC236}">
                <a16:creationId xmlns:a16="http://schemas.microsoft.com/office/drawing/2014/main" id="{F9AD94E3-BD92-35F1-AC57-93D6431F8DB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31838" y="1664060"/>
            <a:ext cx="5364160" cy="4428000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10" name="Zástupný obsah 3">
            <a:extLst>
              <a:ext uri="{FF2B5EF4-FFF2-40B4-BE49-F238E27FC236}">
                <a16:creationId xmlns:a16="http://schemas.microsoft.com/office/drawing/2014/main" id="{80067C72-7AE4-B8D6-D8BC-D50D617D319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3" y="1660885"/>
            <a:ext cx="5364160" cy="4428000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lang="cs-CZ" sz="24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</p:txBody>
      </p:sp>
    </p:spTree>
    <p:extLst>
      <p:ext uri="{BB962C8B-B14F-4D97-AF65-F5344CB8AC3E}">
        <p14:creationId xmlns:p14="http://schemas.microsoft.com/office/powerpoint/2010/main" val="282007509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porovnání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>
            <a:extLst>
              <a:ext uri="{FF2B5EF4-FFF2-40B4-BE49-F238E27FC236}">
                <a16:creationId xmlns:a16="http://schemas.microsoft.com/office/drawing/2014/main" id="{86EFECB8-37A1-1162-F90E-485C0D94B166}"/>
              </a:ext>
            </a:extLst>
          </p:cNvPr>
          <p:cNvSpPr/>
          <p:nvPr userDrawn="1"/>
        </p:nvSpPr>
        <p:spPr>
          <a:xfrm>
            <a:off x="0" y="0"/>
            <a:ext cx="609600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E8A2BDC4-6C43-7770-C039-87C8E274A15E}"/>
              </a:ext>
            </a:extLst>
          </p:cNvPr>
          <p:cNvSpPr/>
          <p:nvPr userDrawn="1"/>
        </p:nvSpPr>
        <p:spPr>
          <a:xfrm>
            <a:off x="0" y="475200"/>
            <a:ext cx="1080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D437D701-B17C-4FB1-90EC-C1632B91EEEE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1620000" y="475199"/>
            <a:ext cx="9802034" cy="720000"/>
          </a:xfrm>
        </p:spPr>
        <p:txBody>
          <a:bodyPr lIns="0"/>
          <a:lstStyle>
            <a:lvl1pPr>
              <a:defRPr sz="2400"/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pic>
        <p:nvPicPr>
          <p:cNvPr id="3" name="Grafický objekt 2">
            <a:extLst>
              <a:ext uri="{FF2B5EF4-FFF2-40B4-BE49-F238E27FC236}">
                <a16:creationId xmlns:a16="http://schemas.microsoft.com/office/drawing/2014/main" id="{EE2CC4EA-C216-1AF1-8FA2-CF9A1AFABD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9783" y="637853"/>
            <a:ext cx="600434" cy="394691"/>
          </a:xfrm>
          <a:prstGeom prst="rect">
            <a:avLst/>
          </a:prstGeom>
        </p:spPr>
      </p:pic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9DE62B0E-5983-12A5-0025-52FE202158C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31838" y="1664060"/>
            <a:ext cx="5364160" cy="4428000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5" name="Zástupný obsah 3">
            <a:extLst>
              <a:ext uri="{FF2B5EF4-FFF2-40B4-BE49-F238E27FC236}">
                <a16:creationId xmlns:a16="http://schemas.microsoft.com/office/drawing/2014/main" id="{5D8F0265-04DD-0A89-7253-9FFFCA701BA6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3" y="1660885"/>
            <a:ext cx="5364160" cy="4428000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lang="cs-CZ" sz="24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</p:txBody>
      </p:sp>
    </p:spTree>
    <p:extLst>
      <p:ext uri="{BB962C8B-B14F-4D97-AF65-F5344CB8AC3E}">
        <p14:creationId xmlns:p14="http://schemas.microsoft.com/office/powerpoint/2010/main" val="154795729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2F86E3AE-C4C5-CA9A-34B2-F60AC1774F1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31838" y="1664058"/>
            <a:ext cx="10728325" cy="4428000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203DDD2B-94B5-4D6B-B92F-71E4B2701400}"/>
              </a:ext>
            </a:extLst>
          </p:cNvPr>
          <p:cNvSpPr/>
          <p:nvPr userDrawn="1"/>
        </p:nvSpPr>
        <p:spPr>
          <a:xfrm>
            <a:off x="0" y="0"/>
            <a:ext cx="6096000" cy="237600"/>
          </a:xfrm>
          <a:prstGeom prst="rect">
            <a:avLst/>
          </a:prstGeom>
          <a:solidFill>
            <a:srgbClr val="2C2F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BA72D03A-0F35-4A68-824B-364CAA4CDC0F}"/>
              </a:ext>
            </a:extLst>
          </p:cNvPr>
          <p:cNvSpPr/>
          <p:nvPr userDrawn="1"/>
        </p:nvSpPr>
        <p:spPr>
          <a:xfrm>
            <a:off x="0" y="475199"/>
            <a:ext cx="1080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CE39D634-FBD8-0067-14B8-7CF2FC0D70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0000" y="475199"/>
            <a:ext cx="9802034" cy="720000"/>
          </a:xfrm>
        </p:spPr>
        <p:txBody>
          <a:bodyPr lIns="0"/>
          <a:lstStyle>
            <a:lvl1pPr>
              <a:defRPr sz="2400"/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pic>
        <p:nvPicPr>
          <p:cNvPr id="5" name="Grafický objekt 4">
            <a:extLst>
              <a:ext uri="{FF2B5EF4-FFF2-40B4-BE49-F238E27FC236}">
                <a16:creationId xmlns:a16="http://schemas.microsoft.com/office/drawing/2014/main" id="{A1536B8C-AE16-1CDA-FCD0-971A3B206F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9783" y="637853"/>
            <a:ext cx="600434" cy="39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459573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graf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4">
            <a:extLst>
              <a:ext uri="{FF2B5EF4-FFF2-40B4-BE49-F238E27FC236}">
                <a16:creationId xmlns:a16="http://schemas.microsoft.com/office/drawing/2014/main" id="{203DDD2B-94B5-4D6B-B92F-71E4B2701400}"/>
              </a:ext>
            </a:extLst>
          </p:cNvPr>
          <p:cNvSpPr/>
          <p:nvPr userDrawn="1"/>
        </p:nvSpPr>
        <p:spPr>
          <a:xfrm>
            <a:off x="0" y="-1"/>
            <a:ext cx="609600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BA72D03A-0F35-4A68-824B-364CAA4CDC0F}"/>
              </a:ext>
            </a:extLst>
          </p:cNvPr>
          <p:cNvSpPr/>
          <p:nvPr userDrawn="1"/>
        </p:nvSpPr>
        <p:spPr>
          <a:xfrm>
            <a:off x="0" y="475199"/>
            <a:ext cx="1080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CE39D634-FBD8-0067-14B8-7CF2FC0D70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0000" y="475199"/>
            <a:ext cx="9802034" cy="720000"/>
          </a:xfrm>
        </p:spPr>
        <p:txBody>
          <a:bodyPr lIns="0"/>
          <a:lstStyle>
            <a:lvl1pPr>
              <a:defRPr sz="2400"/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5" name="Zástupný objekt grafu 10">
            <a:extLst>
              <a:ext uri="{FF2B5EF4-FFF2-40B4-BE49-F238E27FC236}">
                <a16:creationId xmlns:a16="http://schemas.microsoft.com/office/drawing/2014/main" id="{7814EF98-A5EE-B564-2343-4835ACD0118A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30800" y="1663200"/>
            <a:ext cx="10728000" cy="3508730"/>
          </a:xfrm>
        </p:spPr>
        <p:txBody>
          <a:bodyPr/>
          <a:lstStyle/>
          <a:p>
            <a:r>
              <a:rPr lang="cs-CZ" dirty="0"/>
              <a:t>Kliknutím na ikonu přidáte graf.</a:t>
            </a:r>
          </a:p>
        </p:txBody>
      </p:sp>
      <p:sp>
        <p:nvSpPr>
          <p:cNvPr id="6" name="Zástupný text 14">
            <a:extLst>
              <a:ext uri="{FF2B5EF4-FFF2-40B4-BE49-F238E27FC236}">
                <a16:creationId xmlns:a16="http://schemas.microsoft.com/office/drawing/2014/main" id="{693A1838-2329-7980-800F-63A757B70A1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0800" y="5277180"/>
            <a:ext cx="10728000" cy="813600"/>
          </a:xfrm>
          <a:ln w="19050">
            <a:solidFill>
              <a:schemeClr val="accent1"/>
            </a:solidFill>
          </a:ln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/>
            </a:lvl2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9CFCC656-2D8E-F1C5-616E-D828B8032C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9783" y="637853"/>
            <a:ext cx="600434" cy="39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39340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lý nadpis,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bdélník 12">
            <a:extLst>
              <a:ext uri="{FF2B5EF4-FFF2-40B4-BE49-F238E27FC236}">
                <a16:creationId xmlns:a16="http://schemas.microsoft.com/office/drawing/2014/main" id="{E8A2BDC4-6C43-7770-C039-87C8E274A15E}"/>
              </a:ext>
            </a:extLst>
          </p:cNvPr>
          <p:cNvSpPr/>
          <p:nvPr userDrawn="1"/>
        </p:nvSpPr>
        <p:spPr>
          <a:xfrm>
            <a:off x="731838" y="6144231"/>
            <a:ext cx="1083291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82077AF6-1444-E249-F2EF-ECEF553B616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31838" y="873024"/>
            <a:ext cx="10728325" cy="5122454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F46746F9-8916-4E3E-46F8-D3D688B1AC86}"/>
              </a:ext>
            </a:extLst>
          </p:cNvPr>
          <p:cNvSpPr/>
          <p:nvPr userDrawn="1"/>
        </p:nvSpPr>
        <p:spPr>
          <a:xfrm>
            <a:off x="0" y="0"/>
            <a:ext cx="12192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B845A84C-9B03-E5F5-E96F-C8A731070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8" y="0"/>
            <a:ext cx="11460162" cy="720722"/>
          </a:xfrm>
        </p:spPr>
        <p:txBody>
          <a:bodyPr lIns="0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ECE479D9-A951-26E0-C2EF-C43D3FCAC88B}"/>
              </a:ext>
            </a:extLst>
          </p:cNvPr>
          <p:cNvSpPr/>
          <p:nvPr userDrawn="1"/>
        </p:nvSpPr>
        <p:spPr>
          <a:xfrm>
            <a:off x="8197516" y="6144231"/>
            <a:ext cx="3994484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5" name="Zástupný text 8">
            <a:extLst>
              <a:ext uri="{FF2B5EF4-FFF2-40B4-BE49-F238E27FC236}">
                <a16:creationId xmlns:a16="http://schemas.microsoft.com/office/drawing/2014/main" id="{BF4CF16D-F608-F5E0-D06B-61FE4F1927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97517" y="6138000"/>
            <a:ext cx="3994484" cy="719999"/>
          </a:xfrm>
        </p:spPr>
        <p:txBody>
          <a:bodyPr lIns="18000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, www…</a:t>
            </a:r>
          </a:p>
        </p:txBody>
      </p:sp>
      <p:pic>
        <p:nvPicPr>
          <p:cNvPr id="3" name="Grafický objekt 2">
            <a:extLst>
              <a:ext uri="{FF2B5EF4-FFF2-40B4-BE49-F238E27FC236}">
                <a16:creationId xmlns:a16="http://schemas.microsoft.com/office/drawing/2014/main" id="{5FCD939C-3623-5F3C-13A2-66237BC28E7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3266" y="6306885"/>
            <a:ext cx="600434" cy="39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323457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lý nadpis, graf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bdélník 12">
            <a:extLst>
              <a:ext uri="{FF2B5EF4-FFF2-40B4-BE49-F238E27FC236}">
                <a16:creationId xmlns:a16="http://schemas.microsoft.com/office/drawing/2014/main" id="{E8A2BDC4-6C43-7770-C039-87C8E274A15E}"/>
              </a:ext>
            </a:extLst>
          </p:cNvPr>
          <p:cNvSpPr/>
          <p:nvPr userDrawn="1"/>
        </p:nvSpPr>
        <p:spPr>
          <a:xfrm>
            <a:off x="731838" y="6144231"/>
            <a:ext cx="1083291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F46746F9-8916-4E3E-46F8-D3D688B1AC86}"/>
              </a:ext>
            </a:extLst>
          </p:cNvPr>
          <p:cNvSpPr/>
          <p:nvPr userDrawn="1"/>
        </p:nvSpPr>
        <p:spPr>
          <a:xfrm>
            <a:off x="0" y="0"/>
            <a:ext cx="12192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B845A84C-9B03-E5F5-E96F-C8A731070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8" y="0"/>
            <a:ext cx="11460162" cy="720722"/>
          </a:xfrm>
        </p:spPr>
        <p:txBody>
          <a:bodyPr lIns="0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ECE479D9-A951-26E0-C2EF-C43D3FCAC88B}"/>
              </a:ext>
            </a:extLst>
          </p:cNvPr>
          <p:cNvSpPr/>
          <p:nvPr userDrawn="1"/>
        </p:nvSpPr>
        <p:spPr>
          <a:xfrm>
            <a:off x="8197516" y="6144231"/>
            <a:ext cx="3994484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5" name="Zástupný text 8">
            <a:extLst>
              <a:ext uri="{FF2B5EF4-FFF2-40B4-BE49-F238E27FC236}">
                <a16:creationId xmlns:a16="http://schemas.microsoft.com/office/drawing/2014/main" id="{BF4CF16D-F608-F5E0-D06B-61FE4F1927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97517" y="6138000"/>
            <a:ext cx="3994484" cy="719999"/>
          </a:xfrm>
        </p:spPr>
        <p:txBody>
          <a:bodyPr lIns="18000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, www…</a:t>
            </a:r>
          </a:p>
        </p:txBody>
      </p:sp>
      <p:sp>
        <p:nvSpPr>
          <p:cNvPr id="11" name="Zástupný objekt grafu 10">
            <a:extLst>
              <a:ext uri="{FF2B5EF4-FFF2-40B4-BE49-F238E27FC236}">
                <a16:creationId xmlns:a16="http://schemas.microsoft.com/office/drawing/2014/main" id="{2CCDD7A5-4E4F-7E32-7926-F5BD6DE62066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30800" y="874800"/>
            <a:ext cx="10728000" cy="4149524"/>
          </a:xfrm>
        </p:spPr>
        <p:txBody>
          <a:bodyPr/>
          <a:lstStyle/>
          <a:p>
            <a:r>
              <a:rPr lang="cs-CZ" dirty="0"/>
              <a:t>Kliknutím na ikonu přidáte graf.</a:t>
            </a:r>
          </a:p>
        </p:txBody>
      </p:sp>
      <p:sp>
        <p:nvSpPr>
          <p:cNvPr id="15" name="Zástupný text 14">
            <a:extLst>
              <a:ext uri="{FF2B5EF4-FFF2-40B4-BE49-F238E27FC236}">
                <a16:creationId xmlns:a16="http://schemas.microsoft.com/office/drawing/2014/main" id="{E54CAFFC-D28A-B9D7-EF18-CE0F2887901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0800" y="5186979"/>
            <a:ext cx="10728000" cy="813600"/>
          </a:xfrm>
          <a:ln w="19050">
            <a:solidFill>
              <a:schemeClr val="accent1"/>
            </a:solidFill>
          </a:ln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/>
            </a:lvl2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pic>
        <p:nvPicPr>
          <p:cNvPr id="3" name="Grafický objekt 2">
            <a:extLst>
              <a:ext uri="{FF2B5EF4-FFF2-40B4-BE49-F238E27FC236}">
                <a16:creationId xmlns:a16="http://schemas.microsoft.com/office/drawing/2014/main" id="{9D867981-40CA-42CE-4188-A647C9634E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3266" y="6306885"/>
            <a:ext cx="600434" cy="39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57846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0D2E6F-220F-49C4-98D1-7BDFBA8821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BA0704B2-04BF-4605-8B00-58FD10478C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98F8573A-E907-4D18-B067-D7A4FDDE36F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109AA0B-E477-40F1-850D-D20799AB46E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3E941A86-9770-4E88-AAB2-0815300A360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0F9E5744-B9E8-45BB-A447-BC85B92430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4C4EA-BBB6-4509-82FD-6C1C4C05004B}" type="datetimeFigureOut">
              <a:rPr lang="cs-CZ" smtClean="0"/>
              <a:t>24.10.2023</a:t>
            </a:fld>
            <a:endParaRPr lang="cs-CZ" dirty="0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03EFC422-20D3-4960-BAAA-ECE8FADBF6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46F99830-FB58-4F62-8001-F24FC3D881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BA2347-4413-44E4-972F-4B947EE9AB0F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00925188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malý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bdélník 12">
            <a:extLst>
              <a:ext uri="{FF2B5EF4-FFF2-40B4-BE49-F238E27FC236}">
                <a16:creationId xmlns:a16="http://schemas.microsoft.com/office/drawing/2014/main" id="{E8A2BDC4-6C43-7770-C039-87C8E274A15E}"/>
              </a:ext>
            </a:extLst>
          </p:cNvPr>
          <p:cNvSpPr/>
          <p:nvPr userDrawn="1"/>
        </p:nvSpPr>
        <p:spPr>
          <a:xfrm>
            <a:off x="731838" y="6144231"/>
            <a:ext cx="1083291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F46746F9-8916-4E3E-46F8-D3D688B1AC86}"/>
              </a:ext>
            </a:extLst>
          </p:cNvPr>
          <p:cNvSpPr/>
          <p:nvPr userDrawn="1"/>
        </p:nvSpPr>
        <p:spPr>
          <a:xfrm>
            <a:off x="0" y="-2"/>
            <a:ext cx="12192000" cy="72866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B845A84C-9B03-E5F5-E96F-C8A731070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8" y="7940"/>
            <a:ext cx="11460162" cy="720722"/>
          </a:xfrm>
        </p:spPr>
        <p:txBody>
          <a:bodyPr lIns="0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15B4E1AD-5241-BB23-6D38-68E746B8E97B}"/>
              </a:ext>
            </a:extLst>
          </p:cNvPr>
          <p:cNvSpPr/>
          <p:nvPr userDrawn="1"/>
        </p:nvSpPr>
        <p:spPr>
          <a:xfrm>
            <a:off x="8197516" y="6144231"/>
            <a:ext cx="3994484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Zástupný text 8">
            <a:extLst>
              <a:ext uri="{FF2B5EF4-FFF2-40B4-BE49-F238E27FC236}">
                <a16:creationId xmlns:a16="http://schemas.microsoft.com/office/drawing/2014/main" id="{87B68CB9-55B6-6A8B-4827-E00145D2E5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97517" y="6138000"/>
            <a:ext cx="3994484" cy="719999"/>
          </a:xfrm>
        </p:spPr>
        <p:txBody>
          <a:bodyPr lIns="180000" tIns="0" rIns="180000" bIns="0" anchor="ctr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dirty="0"/>
              <a:t>Datum, www…</a:t>
            </a:r>
          </a:p>
        </p:txBody>
      </p:sp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DE1F59A-6630-39F8-9EF9-04ED8200D0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3266" y="6306885"/>
            <a:ext cx="600434" cy="39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118187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, nadpis,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1DAF197-0F70-E0BF-5CA5-CDDA97864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8393" y="365125"/>
            <a:ext cx="6281770" cy="1591757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44F03E9-B7DD-0DB9-BE59-19B95CD652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8392" y="2127183"/>
            <a:ext cx="6281771" cy="3994216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  <a:lvl5pPr marL="2057400" indent="-228600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86EFECB8-37A1-1162-F90E-485C0D94B166}"/>
              </a:ext>
            </a:extLst>
          </p:cNvPr>
          <p:cNvSpPr/>
          <p:nvPr userDrawn="1"/>
        </p:nvSpPr>
        <p:spPr>
          <a:xfrm>
            <a:off x="0" y="-1"/>
            <a:ext cx="6096000" cy="3651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CBBC2331-8763-C5B2-68A1-85820DC30C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8" y="6273700"/>
            <a:ext cx="2196000" cy="432000"/>
          </a:xfrm>
          <a:prstGeom prst="rect">
            <a:avLst/>
          </a:prstGeom>
        </p:spPr>
      </p:pic>
      <p:sp>
        <p:nvSpPr>
          <p:cNvPr id="10" name="Zástupný symbol obrázku 18">
            <a:extLst>
              <a:ext uri="{FF2B5EF4-FFF2-40B4-BE49-F238E27FC236}">
                <a16:creationId xmlns:a16="http://schemas.microsoft.com/office/drawing/2014/main" id="{64BA727E-C5B8-3E3B-6578-64D5C90C690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75703" y="376239"/>
            <a:ext cx="4656087" cy="5753099"/>
          </a:xfrm>
        </p:spPr>
        <p:txBody>
          <a:bodyPr/>
          <a:lstStyle/>
          <a:p>
            <a:r>
              <a:rPr lang="cs-CZ" dirty="0"/>
              <a:t>Kliknutím na ikonu přidáte obrázek.</a:t>
            </a:r>
          </a:p>
        </p:txBody>
      </p:sp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D42D85A1-CE0E-3796-3FB6-1A1B847697E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598669" y="6291700"/>
            <a:ext cx="639692" cy="396000"/>
          </a:xfrm>
          <a:prstGeom prst="rect">
            <a:avLst/>
          </a:prstGeom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14B0CAD1-A4B6-4EA1-A166-AA5F970FC7FC}"/>
              </a:ext>
            </a:extLst>
          </p:cNvPr>
          <p:cNvSpPr/>
          <p:nvPr userDrawn="1"/>
        </p:nvSpPr>
        <p:spPr>
          <a:xfrm>
            <a:off x="10376871" y="6144231"/>
            <a:ext cx="1083291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8BEB2427-9268-F411-451F-67ABE191E7A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18298" y="6307200"/>
            <a:ext cx="600434" cy="39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767255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zdělovní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8A8D0CC2-172E-43C5-9C85-8F6AE990459A}"/>
              </a:ext>
            </a:extLst>
          </p:cNvPr>
          <p:cNvSpPr/>
          <p:nvPr userDrawn="1"/>
        </p:nvSpPr>
        <p:spPr>
          <a:xfrm>
            <a:off x="8177370" y="2295939"/>
            <a:ext cx="4012822" cy="226612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21DAF197-0F70-E0BF-5CA5-CDDA97864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64551" y="2779533"/>
            <a:ext cx="3438462" cy="1298934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4" name="Obdélník 3">
            <a:extLst>
              <a:ext uri="{FF2B5EF4-FFF2-40B4-BE49-F238E27FC236}">
                <a16:creationId xmlns:a16="http://schemas.microsoft.com/office/drawing/2014/main" id="{EDE00BE3-D7A4-222E-EB1C-02362F658C8C}"/>
              </a:ext>
            </a:extLst>
          </p:cNvPr>
          <p:cNvSpPr/>
          <p:nvPr userDrawn="1"/>
        </p:nvSpPr>
        <p:spPr>
          <a:xfrm>
            <a:off x="0" y="6139116"/>
            <a:ext cx="12192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C76A4F77-4ECB-84D8-129C-2720D24CF3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1799" y="891024"/>
            <a:ext cx="639692" cy="396000"/>
          </a:xfrm>
          <a:prstGeom prst="rect">
            <a:avLst/>
          </a:prstGeom>
        </p:spPr>
      </p:pic>
      <p:sp>
        <p:nvSpPr>
          <p:cNvPr id="11" name="Zástupný symbol obrázku 18">
            <a:extLst>
              <a:ext uri="{FF2B5EF4-FFF2-40B4-BE49-F238E27FC236}">
                <a16:creationId xmlns:a16="http://schemas.microsoft.com/office/drawing/2014/main" id="{3E21766A-FBBC-4C6E-85A2-C511EFF7D51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2295939"/>
            <a:ext cx="7983110" cy="2266122"/>
          </a:xfrm>
        </p:spPr>
        <p:txBody>
          <a:bodyPr/>
          <a:lstStyle/>
          <a:p>
            <a:r>
              <a:rPr lang="cs-CZ" dirty="0"/>
              <a:t>Kliknutím na ikonu přidáte obrázek.</a:t>
            </a: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6E3075EE-18D4-417E-80DB-D5BF64468159}"/>
              </a:ext>
            </a:extLst>
          </p:cNvPr>
          <p:cNvSpPr/>
          <p:nvPr userDrawn="1"/>
        </p:nvSpPr>
        <p:spPr>
          <a:xfrm>
            <a:off x="0" y="-1"/>
            <a:ext cx="401463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C460BFFC-102B-41D0-BE0E-05968B89F6B9}"/>
              </a:ext>
            </a:extLst>
          </p:cNvPr>
          <p:cNvSpPr/>
          <p:nvPr userDrawn="1"/>
        </p:nvSpPr>
        <p:spPr>
          <a:xfrm>
            <a:off x="1645" y="475199"/>
            <a:ext cx="1080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00F74BD2-D76A-7DEB-05F3-9CF402FFD6A8}"/>
              </a:ext>
            </a:extLst>
          </p:cNvPr>
          <p:cNvSpPr/>
          <p:nvPr userDrawn="1"/>
        </p:nvSpPr>
        <p:spPr>
          <a:xfrm>
            <a:off x="8197516" y="6144231"/>
            <a:ext cx="3994484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5" name="Grafický objekt 4">
            <a:extLst>
              <a:ext uri="{FF2B5EF4-FFF2-40B4-BE49-F238E27FC236}">
                <a16:creationId xmlns:a16="http://schemas.microsoft.com/office/drawing/2014/main" id="{68BA3A5B-1DF2-E847-D2B1-385A2E1BEF5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39783" y="637853"/>
            <a:ext cx="600434" cy="39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928358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zdělovník s text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Zástupný text 11">
            <a:extLst>
              <a:ext uri="{FF2B5EF4-FFF2-40B4-BE49-F238E27FC236}">
                <a16:creationId xmlns:a16="http://schemas.microsoft.com/office/drawing/2014/main" id="{AAA198B7-83B3-B629-FB4A-08F345D3D9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4399" y="2297475"/>
            <a:ext cx="7338710" cy="2264586"/>
          </a:xfrm>
        </p:spPr>
        <p:txBody>
          <a:bodyPr wrap="square">
            <a:noAutofit/>
          </a:bodyPr>
          <a:lstStyle>
            <a:lvl1pPr marL="0" indent="0">
              <a:buNone/>
              <a:defRPr sz="360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8A8D0CC2-172E-43C5-9C85-8F6AE990459A}"/>
              </a:ext>
            </a:extLst>
          </p:cNvPr>
          <p:cNvSpPr/>
          <p:nvPr userDrawn="1"/>
        </p:nvSpPr>
        <p:spPr>
          <a:xfrm>
            <a:off x="8177370" y="2295939"/>
            <a:ext cx="4012822" cy="226612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21DAF197-0F70-E0BF-5CA5-CDDA97864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64551" y="2779533"/>
            <a:ext cx="3438462" cy="1298934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4" name="Obdélník 3">
            <a:extLst>
              <a:ext uri="{FF2B5EF4-FFF2-40B4-BE49-F238E27FC236}">
                <a16:creationId xmlns:a16="http://schemas.microsoft.com/office/drawing/2014/main" id="{EDE00BE3-D7A4-222E-EB1C-02362F658C8C}"/>
              </a:ext>
            </a:extLst>
          </p:cNvPr>
          <p:cNvSpPr/>
          <p:nvPr userDrawn="1"/>
        </p:nvSpPr>
        <p:spPr>
          <a:xfrm>
            <a:off x="0" y="6139116"/>
            <a:ext cx="12192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C76A4F77-4ECB-84D8-129C-2720D24CF3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1799" y="891024"/>
            <a:ext cx="639692" cy="396000"/>
          </a:xfrm>
          <a:prstGeom prst="rect">
            <a:avLst/>
          </a:prstGeom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6E3075EE-18D4-417E-80DB-D5BF64468159}"/>
              </a:ext>
            </a:extLst>
          </p:cNvPr>
          <p:cNvSpPr/>
          <p:nvPr userDrawn="1"/>
        </p:nvSpPr>
        <p:spPr>
          <a:xfrm>
            <a:off x="0" y="-1"/>
            <a:ext cx="4014630" cy="237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C460BFFC-102B-41D0-BE0E-05968B89F6B9}"/>
              </a:ext>
            </a:extLst>
          </p:cNvPr>
          <p:cNvSpPr/>
          <p:nvPr userDrawn="1"/>
        </p:nvSpPr>
        <p:spPr>
          <a:xfrm>
            <a:off x="1645" y="475199"/>
            <a:ext cx="1080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00F74BD2-D76A-7DEB-05F3-9CF402FFD6A8}"/>
              </a:ext>
            </a:extLst>
          </p:cNvPr>
          <p:cNvSpPr/>
          <p:nvPr userDrawn="1"/>
        </p:nvSpPr>
        <p:spPr>
          <a:xfrm>
            <a:off x="8197516" y="6144231"/>
            <a:ext cx="3994484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5" name="Grafický objekt 4">
            <a:extLst>
              <a:ext uri="{FF2B5EF4-FFF2-40B4-BE49-F238E27FC236}">
                <a16:creationId xmlns:a16="http://schemas.microsoft.com/office/drawing/2014/main" id="{ED1BCC48-B37A-A06B-2CE2-8043E189958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39783" y="637853"/>
            <a:ext cx="600434" cy="39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58786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50920DF6-24B2-4278-BD94-C81EE0F4F2CF}"/>
              </a:ext>
            </a:extLst>
          </p:cNvPr>
          <p:cNvSpPr/>
          <p:nvPr userDrawn="1"/>
        </p:nvSpPr>
        <p:spPr>
          <a:xfrm>
            <a:off x="0" y="0"/>
            <a:ext cx="12192000" cy="2376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14402888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ÚZ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>
            <a:extLst>
              <a:ext uri="{FF2B5EF4-FFF2-40B4-BE49-F238E27FC236}">
                <a16:creationId xmlns:a16="http://schemas.microsoft.com/office/drawing/2014/main" id="{86EFECB8-37A1-1162-F90E-485C0D94B166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7E295BD0-8E8C-6223-6019-681477D7636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8687" y="2962274"/>
            <a:ext cx="10334625" cy="933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094636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 modr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>
            <a:extLst>
              <a:ext uri="{FF2B5EF4-FFF2-40B4-BE49-F238E27FC236}">
                <a16:creationId xmlns:a16="http://schemas.microsoft.com/office/drawing/2014/main" id="{86EFECB8-37A1-1162-F90E-485C0D94B166}"/>
              </a:ext>
            </a:extLst>
          </p:cNvPr>
          <p:cNvSpPr/>
          <p:nvPr userDrawn="1"/>
        </p:nvSpPr>
        <p:spPr>
          <a:xfrm>
            <a:off x="0" y="-2"/>
            <a:ext cx="12192000" cy="685800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E800A2A-3E57-67A1-9FC5-281F4B15A28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40059" y="2995034"/>
            <a:ext cx="6911881" cy="867930"/>
          </a:xfrm>
        </p:spPr>
        <p:txBody>
          <a:bodyPr>
            <a:sp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33898259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4159AF-26F1-42E1-BF83-F89C20A19403}" type="datetimeFigureOut">
              <a:rPr lang="cs-CZ" smtClean="0"/>
              <a:t>24.10.2023</a:t>
            </a:fld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55411248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délník 15"/>
          <p:cNvSpPr/>
          <p:nvPr userDrawn="1"/>
        </p:nvSpPr>
        <p:spPr>
          <a:xfrm>
            <a:off x="-3" y="-30228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1608840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accent3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2642104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0"/>
            <a:ext cx="12192000" cy="457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chemeClr val="accent2"/>
              </a:solidFill>
            </a:endParaRPr>
          </a:p>
        </p:txBody>
      </p:sp>
      <p:sp>
        <p:nvSpPr>
          <p:cNvPr id="5" name="Ovál 4"/>
          <p:cNvSpPr/>
          <p:nvPr userDrawn="1"/>
        </p:nvSpPr>
        <p:spPr>
          <a:xfrm>
            <a:off x="6390620" y="3048700"/>
            <a:ext cx="192000" cy="180000"/>
          </a:xfrm>
          <a:prstGeom prst="ellipse">
            <a:avLst/>
          </a:prstGeom>
          <a:solidFill>
            <a:srgbClr val="FDFD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/>
          </a:p>
        </p:txBody>
      </p:sp>
      <p:sp>
        <p:nvSpPr>
          <p:cNvPr id="20" name="Obdélník 19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/>
          </a:p>
        </p:txBody>
      </p:sp>
      <p:sp>
        <p:nvSpPr>
          <p:cNvPr id="21" name="Obdélník 20"/>
          <p:cNvSpPr/>
          <p:nvPr userDrawn="1"/>
        </p:nvSpPr>
        <p:spPr>
          <a:xfrm>
            <a:off x="0" y="5879930"/>
            <a:ext cx="12192000" cy="457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chemeClr val="accent2"/>
              </a:solidFill>
            </a:endParaRPr>
          </a:p>
        </p:txBody>
      </p:sp>
      <p:sp>
        <p:nvSpPr>
          <p:cNvPr id="23" name="TextovéPole 22"/>
          <p:cNvSpPr txBox="1"/>
          <p:nvPr userDrawn="1"/>
        </p:nvSpPr>
        <p:spPr>
          <a:xfrm>
            <a:off x="7770912" y="6257230"/>
            <a:ext cx="51845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pic>
        <p:nvPicPr>
          <p:cNvPr id="28" name="Obrázek 2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0119" y="6187265"/>
            <a:ext cx="857800" cy="432000"/>
          </a:xfrm>
          <a:prstGeom prst="rect">
            <a:avLst/>
          </a:prstGeom>
        </p:spPr>
      </p:pic>
      <p:pic>
        <p:nvPicPr>
          <p:cNvPr id="18" name="Obrázek 1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609" y="6302562"/>
            <a:ext cx="5017951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08492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09600" y="980729"/>
            <a:ext cx="109728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chemeClr val="accent2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8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6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24.10.2023</a:t>
            </a:fld>
            <a:endParaRPr lang="cs-CZ" dirty="0"/>
          </a:p>
        </p:txBody>
      </p:sp>
      <p:sp>
        <p:nvSpPr>
          <p:cNvPr id="12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5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3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5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4151034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D03F311-1E70-4822-89CE-32319CD2FA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33FF0B7D-7566-4780-A581-2A2F9B9C3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4C4EA-BBB6-4509-82FD-6C1C4C05004B}" type="datetimeFigureOut">
              <a:rPr lang="cs-CZ" smtClean="0"/>
              <a:t>24.10.2023</a:t>
            </a:fld>
            <a:endParaRPr lang="cs-CZ" dirty="0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509D25FC-4423-4A76-AB29-D033162E3C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09D8008-D9AD-4F51-9B98-D18835D059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BA2347-4413-44E4-972F-4B947EE9AB0F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9801980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4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7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6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24.10.2023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5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5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0534767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188640"/>
            <a:ext cx="10945216" cy="648072"/>
          </a:xfrm>
          <a:prstGeom prst="rect">
            <a:avLst/>
          </a:prstGeom>
        </p:spPr>
        <p:txBody>
          <a:bodyPr anchor="t"/>
          <a:lstStyle>
            <a:lvl1pPr algn="l">
              <a:defRPr sz="2000" b="1">
                <a:solidFill>
                  <a:schemeClr val="accent2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6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24.10.2023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5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5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" name="Obdélník 1"/>
          <p:cNvSpPr/>
          <p:nvPr userDrawn="1"/>
        </p:nvSpPr>
        <p:spPr>
          <a:xfrm>
            <a:off x="4699462" y="6450677"/>
            <a:ext cx="1995055" cy="2992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/>
          </a:p>
        </p:txBody>
      </p:sp>
    </p:spTree>
    <p:extLst>
      <p:ext uri="{BB962C8B-B14F-4D97-AF65-F5344CB8AC3E}">
        <p14:creationId xmlns:p14="http://schemas.microsoft.com/office/powerpoint/2010/main" val="181175209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6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24.10.2023</a:t>
            </a:fld>
            <a:endParaRPr lang="cs-CZ" dirty="0"/>
          </a:p>
        </p:txBody>
      </p:sp>
      <p:sp>
        <p:nvSpPr>
          <p:cNvPr id="9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5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0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5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93406664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alyt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116632"/>
            <a:ext cx="10945216" cy="432048"/>
          </a:xfrm>
          <a:prstGeom prst="rect">
            <a:avLst/>
          </a:prstGeom>
        </p:spPr>
        <p:txBody>
          <a:bodyPr anchor="t"/>
          <a:lstStyle>
            <a:lvl1pPr algn="l">
              <a:defRPr sz="2400" b="1">
                <a:solidFill>
                  <a:schemeClr val="accent2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38538528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>
            <a:extLst>
              <a:ext uri="{FF2B5EF4-FFF2-40B4-BE49-F238E27FC236}">
                <a16:creationId xmlns:a16="http://schemas.microsoft.com/office/drawing/2014/main" id="{63EA0E24-3DEE-4F9B-BE62-2C949AF5B0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12658"/>
            <a:ext cx="12192000" cy="4718304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EA7E5BF0-AE0D-4088-9249-900F92A0E8F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12658"/>
            <a:ext cx="12192000" cy="4718304"/>
          </a:xfrm>
          <a:prstGeom prst="rect">
            <a:avLst/>
          </a:prstGeom>
        </p:spPr>
      </p:pic>
      <p:pic>
        <p:nvPicPr>
          <p:cNvPr id="66" name="Obrázek 65" descr="cid:image001.jpg@01CED555.8CFAB4A0">
            <a:extLst>
              <a:ext uri="{FF2B5EF4-FFF2-40B4-BE49-F238E27FC236}">
                <a16:creationId xmlns:a16="http://schemas.microsoft.com/office/drawing/2014/main" id="{D17F3592-01D7-4B8C-BAC8-A15B8AA86699}"/>
              </a:ext>
            </a:extLst>
          </p:cNvPr>
          <p:cNvPicPr/>
          <p:nvPr userDrawn="1"/>
        </p:nvPicPr>
        <p:blipFill>
          <a:blip r:embed="rId4"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0159" y="6243595"/>
            <a:ext cx="4320480" cy="504056"/>
          </a:xfrm>
          <a:prstGeom prst="rect">
            <a:avLst/>
          </a:prstGeom>
          <a:noFill/>
          <a:ln>
            <a:noFill/>
          </a:ln>
        </p:spPr>
      </p:pic>
      <p:pic>
        <p:nvPicPr>
          <p:cNvPr id="67" name="Picture 9" descr="logo_mzcr">
            <a:extLst>
              <a:ext uri="{FF2B5EF4-FFF2-40B4-BE49-F238E27FC236}">
                <a16:creationId xmlns:a16="http://schemas.microsoft.com/office/drawing/2014/main" id="{285C40DD-D2EF-48E7-99A8-53B809A1EA9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677" y="137068"/>
            <a:ext cx="3896923" cy="343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Obdélník 6">
            <a:extLst>
              <a:ext uri="{FF2B5EF4-FFF2-40B4-BE49-F238E27FC236}">
                <a16:creationId xmlns:a16="http://schemas.microsoft.com/office/drawing/2014/main" id="{D4D1F535-DC44-479F-B5BD-92EA59F33323}"/>
              </a:ext>
            </a:extLst>
          </p:cNvPr>
          <p:cNvSpPr/>
          <p:nvPr userDrawn="1"/>
        </p:nvSpPr>
        <p:spPr>
          <a:xfrm>
            <a:off x="347463" y="1160781"/>
            <a:ext cx="5220082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cs-CZ" sz="2200" b="1" i="1" dirty="0">
                <a:solidFill>
                  <a:schemeClr val="bg1"/>
                </a:solidFill>
              </a:rPr>
              <a:t>Analytické studie programu Zdraví 2030: </a:t>
            </a:r>
            <a:r>
              <a:rPr lang="cs-CZ" sz="3400" b="1" dirty="0">
                <a:solidFill>
                  <a:schemeClr val="bg1"/>
                </a:solidFill>
              </a:rPr>
              <a:t>Kapacity a aktivita </a:t>
            </a:r>
          </a:p>
          <a:p>
            <a:pPr algn="l"/>
            <a:r>
              <a:rPr lang="cs-CZ" sz="3400" b="1" dirty="0">
                <a:solidFill>
                  <a:schemeClr val="bg1"/>
                </a:solidFill>
              </a:rPr>
              <a:t>PL a PLDD </a:t>
            </a:r>
          </a:p>
        </p:txBody>
      </p:sp>
      <p:pic>
        <p:nvPicPr>
          <p:cNvPr id="4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8E98422F-1202-68B7-A6C5-FD1E3B50298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8032" y="87416"/>
            <a:ext cx="1252291" cy="487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425158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zadi seda">
            <a:extLst>
              <a:ext uri="{FF2B5EF4-FFF2-40B4-BE49-F238E27FC236}">
                <a16:creationId xmlns:a16="http://schemas.microsoft.com/office/drawing/2014/main" id="{C6DB6EA3-D18B-4247-B7E0-D3F0ED4ABC66}"/>
              </a:ext>
            </a:extLst>
          </p:cNvPr>
          <p:cNvSpPr/>
          <p:nvPr userDrawn="1"/>
        </p:nvSpPr>
        <p:spPr bwMode="gray">
          <a:xfrm>
            <a:off x="0" y="1899462"/>
            <a:ext cx="12192000" cy="4028858"/>
          </a:xfrm>
          <a:prstGeom prst="rect">
            <a:avLst/>
          </a:prstGeom>
          <a:solidFill>
            <a:schemeClr val="bg1">
              <a:lumMod val="95000"/>
              <a:alpha val="61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400" b="1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2" name="Linka cervena">
            <a:extLst>
              <a:ext uri="{FF2B5EF4-FFF2-40B4-BE49-F238E27FC236}">
                <a16:creationId xmlns:a16="http://schemas.microsoft.com/office/drawing/2014/main" id="{B9205121-7638-4ABD-95F5-177B33D17428}"/>
              </a:ext>
            </a:extLst>
          </p:cNvPr>
          <p:cNvSpPr/>
          <p:nvPr userDrawn="1"/>
        </p:nvSpPr>
        <p:spPr>
          <a:xfrm flipV="1">
            <a:off x="5552" y="5881971"/>
            <a:ext cx="12173011" cy="36000"/>
          </a:xfrm>
          <a:prstGeom prst="rect">
            <a:avLst/>
          </a:prstGeom>
          <a:solidFill>
            <a:srgbClr val="D71440"/>
          </a:solidFill>
          <a:ln>
            <a:solidFill>
              <a:srgbClr val="D714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8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805" y="6275298"/>
            <a:ext cx="3763463" cy="324000"/>
          </a:xfrm>
          <a:prstGeom prst="rect">
            <a:avLst/>
          </a:prstGeom>
        </p:spPr>
      </p:pic>
      <p:pic>
        <p:nvPicPr>
          <p:cNvPr id="6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9537" y="6124324"/>
            <a:ext cx="822458" cy="540000"/>
          </a:xfrm>
          <a:prstGeom prst="rect">
            <a:avLst/>
          </a:prstGeom>
        </p:spPr>
      </p:pic>
      <p:pic>
        <p:nvPicPr>
          <p:cNvPr id="11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113" y="2607870"/>
            <a:ext cx="5715760" cy="2224771"/>
          </a:xfrm>
          <a:prstGeom prst="rect">
            <a:avLst/>
          </a:prstGeom>
        </p:spPr>
      </p:pic>
      <p:pic>
        <p:nvPicPr>
          <p:cNvPr id="61" name="Ikona 7">
            <a:extLst>
              <a:ext uri="{FF2B5EF4-FFF2-40B4-BE49-F238E27FC236}">
                <a16:creationId xmlns:a16="http://schemas.microsoft.com/office/drawing/2014/main" id="{1E522FD7-51BC-4B8E-A68D-8A0B5E4169E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5605" y="3727037"/>
            <a:ext cx="791389" cy="792000"/>
          </a:xfrm>
          <a:prstGeom prst="rect">
            <a:avLst/>
          </a:prstGeom>
        </p:spPr>
      </p:pic>
      <p:pic>
        <p:nvPicPr>
          <p:cNvPr id="62" name="Ikona 6">
            <a:extLst>
              <a:ext uri="{FF2B5EF4-FFF2-40B4-BE49-F238E27FC236}">
                <a16:creationId xmlns:a16="http://schemas.microsoft.com/office/drawing/2014/main" id="{E01AA11B-D042-44CE-8E91-BAD234FB490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5916" y="2819547"/>
            <a:ext cx="791389" cy="792000"/>
          </a:xfrm>
          <a:prstGeom prst="rect">
            <a:avLst/>
          </a:prstGeom>
        </p:spPr>
      </p:pic>
      <p:pic>
        <p:nvPicPr>
          <p:cNvPr id="63" name="Ikona 5">
            <a:extLst>
              <a:ext uri="{FF2B5EF4-FFF2-40B4-BE49-F238E27FC236}">
                <a16:creationId xmlns:a16="http://schemas.microsoft.com/office/drawing/2014/main" id="{6E1D9AE5-9B01-4D1E-A130-EA1856689D6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4327" y="2821182"/>
            <a:ext cx="791389" cy="792000"/>
          </a:xfrm>
          <a:prstGeom prst="rect">
            <a:avLst/>
          </a:prstGeom>
        </p:spPr>
      </p:pic>
      <p:pic>
        <p:nvPicPr>
          <p:cNvPr id="64" name="Ikona 4">
            <a:extLst>
              <a:ext uri="{FF2B5EF4-FFF2-40B4-BE49-F238E27FC236}">
                <a16:creationId xmlns:a16="http://schemas.microsoft.com/office/drawing/2014/main" id="{78221017-9FB8-4EF8-A88B-38444E30A27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4197" y="2826357"/>
            <a:ext cx="788298" cy="792000"/>
          </a:xfrm>
          <a:prstGeom prst="rect">
            <a:avLst/>
          </a:prstGeom>
        </p:spPr>
      </p:pic>
      <p:pic>
        <p:nvPicPr>
          <p:cNvPr id="65" name="Ikona 3">
            <a:extLst>
              <a:ext uri="{FF2B5EF4-FFF2-40B4-BE49-F238E27FC236}">
                <a16:creationId xmlns:a16="http://schemas.microsoft.com/office/drawing/2014/main" id="{D435ECA9-9699-4A70-9ABD-16C688E3468C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1468" y="2827327"/>
            <a:ext cx="788298" cy="792000"/>
          </a:xfrm>
          <a:prstGeom prst="rect">
            <a:avLst/>
          </a:prstGeom>
        </p:spPr>
      </p:pic>
      <p:pic>
        <p:nvPicPr>
          <p:cNvPr id="66" name="Ikona 2">
            <a:extLst>
              <a:ext uri="{FF2B5EF4-FFF2-40B4-BE49-F238E27FC236}">
                <a16:creationId xmlns:a16="http://schemas.microsoft.com/office/drawing/2014/main" id="{06B998D0-4DD3-4617-8B85-7A97769C7BF7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1592" y="3720280"/>
            <a:ext cx="791389" cy="792000"/>
          </a:xfrm>
          <a:prstGeom prst="rect">
            <a:avLst/>
          </a:prstGeom>
        </p:spPr>
      </p:pic>
      <p:pic>
        <p:nvPicPr>
          <p:cNvPr id="67" name="Ikona 1">
            <a:extLst>
              <a:ext uri="{FF2B5EF4-FFF2-40B4-BE49-F238E27FC236}">
                <a16:creationId xmlns:a16="http://schemas.microsoft.com/office/drawing/2014/main" id="{CDFE4053-986D-4CF5-BB65-55DDA986CB79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5004" y="3714480"/>
            <a:ext cx="794492" cy="792000"/>
          </a:xfrm>
          <a:prstGeom prst="rect">
            <a:avLst/>
          </a:prstGeom>
        </p:spPr>
      </p:pic>
      <p:pic>
        <p:nvPicPr>
          <p:cNvPr id="9" name="Vlajka CR">
            <a:extLst>
              <a:ext uri="{FF2B5EF4-FFF2-40B4-BE49-F238E27FC236}">
                <a16:creationId xmlns:a16="http://schemas.microsoft.com/office/drawing/2014/main" id="{471DD38C-87B2-4EF0-9C4F-92FAABA3B665}"/>
              </a:ext>
            </a:extLst>
          </p:cNvPr>
          <p:cNvPicPr>
            <a:picLocks noChangeArrowheads="1"/>
          </p:cNvPicPr>
          <p:nvPr userDrawn="1">
            <p:custDataLst>
              <p:tags r:id="rId1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1525177" y="249066"/>
            <a:ext cx="540000" cy="36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" name="Vlajka EU">
            <a:extLst>
              <a:ext uri="{FF2B5EF4-FFF2-40B4-BE49-F238E27FC236}">
                <a16:creationId xmlns:a16="http://schemas.microsoft.com/office/drawing/2014/main" id="{F0605D3E-9EE4-4CE0-8944-A11CBF44BE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118"/>
          <a:stretch/>
        </p:blipFill>
        <p:spPr>
          <a:xfrm>
            <a:off x="10876478" y="245794"/>
            <a:ext cx="538775" cy="360000"/>
          </a:xfrm>
          <a:prstGeom prst="rect">
            <a:avLst/>
          </a:prstGeom>
        </p:spPr>
      </p:pic>
      <p:sp>
        <p:nvSpPr>
          <p:cNvPr id="41" name="Podnadpis">
            <a:extLst>
              <a:ext uri="{FF2B5EF4-FFF2-40B4-BE49-F238E27FC236}">
                <a16:creationId xmlns:a16="http://schemas.microsoft.com/office/drawing/2014/main" id="{A48B58A5-C806-4673-B1BA-E9829457EAA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0806" y="5471177"/>
            <a:ext cx="8608732" cy="468000"/>
          </a:xfrm>
          <a:noFill/>
        </p:spPr>
        <p:txBody>
          <a:bodyPr anchor="ctr"/>
          <a:lstStyle>
            <a:lvl1pPr marL="0" indent="0">
              <a:buNone/>
              <a:defRPr lang="cs-CZ" sz="28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cs-CZ" dirty="0"/>
              <a:t>Vložte podnadpis</a:t>
            </a:r>
          </a:p>
        </p:txBody>
      </p:sp>
      <p:sp>
        <p:nvSpPr>
          <p:cNvPr id="13" name="Nadpis">
            <a:extLst>
              <a:ext uri="{FF2B5EF4-FFF2-40B4-BE49-F238E27FC236}">
                <a16:creationId xmlns:a16="http://schemas.microsoft.com/office/drawing/2014/main" id="{99BDED9C-93B2-4C0D-BE31-6A2F4570EB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1391" y="240974"/>
            <a:ext cx="8648147" cy="1598025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defRPr lang="cs-CZ" sz="3600" b="1" kern="1200">
                <a:solidFill>
                  <a:srgbClr val="2E5980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46463F65-9A11-4D56-8434-8A71F2B57EAF}"/>
              </a:ext>
            </a:extLst>
          </p:cNvPr>
          <p:cNvGrpSpPr/>
          <p:nvPr userDrawn="1"/>
        </p:nvGrpSpPr>
        <p:grpSpPr>
          <a:xfrm>
            <a:off x="8139289" y="752121"/>
            <a:ext cx="1747911" cy="1747911"/>
            <a:chOff x="8139289" y="752121"/>
            <a:chExt cx="1747911" cy="1747911"/>
          </a:xfrm>
        </p:grpSpPr>
        <p:sp>
          <p:nvSpPr>
            <p:cNvPr id="24" name="Ovál 23">
              <a:extLst>
                <a:ext uri="{FF2B5EF4-FFF2-40B4-BE49-F238E27FC236}">
                  <a16:creationId xmlns:a16="http://schemas.microsoft.com/office/drawing/2014/main" id="{011DD8C7-57C0-4C9E-B534-2038FD05F1FB}"/>
                </a:ext>
              </a:extLst>
            </p:cNvPr>
            <p:cNvSpPr/>
            <p:nvPr userDrawn="1"/>
          </p:nvSpPr>
          <p:spPr>
            <a:xfrm>
              <a:off x="8139289" y="752121"/>
              <a:ext cx="1747911" cy="1747911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D7144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25" name="Ovál 24">
              <a:extLst>
                <a:ext uri="{FF2B5EF4-FFF2-40B4-BE49-F238E27FC236}">
                  <a16:creationId xmlns:a16="http://schemas.microsoft.com/office/drawing/2014/main" id="{2151DE4A-0C78-4E27-AD40-D7ADD2E53399}"/>
                </a:ext>
              </a:extLst>
            </p:cNvPr>
            <p:cNvSpPr/>
            <p:nvPr userDrawn="1"/>
          </p:nvSpPr>
          <p:spPr>
            <a:xfrm>
              <a:off x="8256659" y="869491"/>
              <a:ext cx="1513171" cy="1513171"/>
            </a:xfrm>
            <a:prstGeom prst="ellipse">
              <a:avLst/>
            </a:prstGeom>
            <a:solidFill>
              <a:srgbClr val="D714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pic>
          <p:nvPicPr>
            <p:cNvPr id="26" name="Obrázek 25">
              <a:extLst>
                <a:ext uri="{FF2B5EF4-FFF2-40B4-BE49-F238E27FC236}">
                  <a16:creationId xmlns:a16="http://schemas.microsoft.com/office/drawing/2014/main" id="{ED52A8F3-7618-4081-9F98-6C9E056435E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65803" y="1220676"/>
              <a:ext cx="1504025" cy="86415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6991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FBAE40"/>
          </p15:clr>
        </p15:guide>
        <p15:guide id="2" pos="7605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Obrázek 64">
            <a:extLst>
              <a:ext uri="{FF2B5EF4-FFF2-40B4-BE49-F238E27FC236}">
                <a16:creationId xmlns:a16="http://schemas.microsoft.com/office/drawing/2014/main" id="{1903806D-B11F-4777-91AC-14AF29D6B23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12658"/>
            <a:ext cx="12192000" cy="3424240"/>
          </a:xfrm>
          <a:prstGeom prst="rect">
            <a:avLst/>
          </a:prstGeom>
        </p:spPr>
      </p:pic>
      <p:pic>
        <p:nvPicPr>
          <p:cNvPr id="27" name="Obrázek 75">
            <a:extLst>
              <a:ext uri="{FF2B5EF4-FFF2-40B4-BE49-F238E27FC236}">
                <a16:creationId xmlns:a16="http://schemas.microsoft.com/office/drawing/2014/main" id="{F014DE85-7BF6-41C3-95C4-EC65E5EAD6E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5763" y="1354230"/>
            <a:ext cx="3136237" cy="3656116"/>
          </a:xfrm>
          <a:prstGeom prst="rect">
            <a:avLst/>
          </a:prstGeom>
        </p:spPr>
      </p:pic>
      <p:sp>
        <p:nvSpPr>
          <p:cNvPr id="28" name="Obdélník 50">
            <a:extLst>
              <a:ext uri="{FF2B5EF4-FFF2-40B4-BE49-F238E27FC236}">
                <a16:creationId xmlns:a16="http://schemas.microsoft.com/office/drawing/2014/main" id="{C6455D4C-929B-4BB2-BB4B-AA4BD3BB752C}"/>
              </a:ext>
            </a:extLst>
          </p:cNvPr>
          <p:cNvSpPr/>
          <p:nvPr userDrawn="1"/>
        </p:nvSpPr>
        <p:spPr>
          <a:xfrm>
            <a:off x="0" y="3760440"/>
            <a:ext cx="9379670" cy="276458"/>
          </a:xfrm>
          <a:custGeom>
            <a:avLst/>
            <a:gdLst>
              <a:gd name="connsiteX0" fmla="*/ 0 w 7559571"/>
              <a:gd name="connsiteY0" fmla="*/ 0 h 200385"/>
              <a:gd name="connsiteX1" fmla="*/ 7559571 w 7559571"/>
              <a:gd name="connsiteY1" fmla="*/ 0 h 200385"/>
              <a:gd name="connsiteX2" fmla="*/ 7559571 w 7559571"/>
              <a:gd name="connsiteY2" fmla="*/ 200385 h 200385"/>
              <a:gd name="connsiteX3" fmla="*/ 0 w 7559571"/>
              <a:gd name="connsiteY3" fmla="*/ 200385 h 200385"/>
              <a:gd name="connsiteX4" fmla="*/ 0 w 7559571"/>
              <a:gd name="connsiteY4" fmla="*/ 0 h 200385"/>
              <a:gd name="connsiteX0" fmla="*/ 0 w 7559571"/>
              <a:gd name="connsiteY0" fmla="*/ 9427 h 209812"/>
              <a:gd name="connsiteX1" fmla="*/ 7136091 w 7559571"/>
              <a:gd name="connsiteY1" fmla="*/ 0 h 209812"/>
              <a:gd name="connsiteX2" fmla="*/ 7559571 w 7559571"/>
              <a:gd name="connsiteY2" fmla="*/ 9427 h 209812"/>
              <a:gd name="connsiteX3" fmla="*/ 7559571 w 7559571"/>
              <a:gd name="connsiteY3" fmla="*/ 209812 h 209812"/>
              <a:gd name="connsiteX4" fmla="*/ 0 w 7559571"/>
              <a:gd name="connsiteY4" fmla="*/ 209812 h 209812"/>
              <a:gd name="connsiteX5" fmla="*/ 0 w 7559571"/>
              <a:gd name="connsiteY5" fmla="*/ 9427 h 209812"/>
              <a:gd name="connsiteX0" fmla="*/ 0 w 7673419"/>
              <a:gd name="connsiteY0" fmla="*/ 292231 h 492616"/>
              <a:gd name="connsiteX1" fmla="*/ 7673419 w 7673419"/>
              <a:gd name="connsiteY1" fmla="*/ 0 h 492616"/>
              <a:gd name="connsiteX2" fmla="*/ 7559571 w 7673419"/>
              <a:gd name="connsiteY2" fmla="*/ 292231 h 492616"/>
              <a:gd name="connsiteX3" fmla="*/ 7559571 w 7673419"/>
              <a:gd name="connsiteY3" fmla="*/ 492616 h 492616"/>
              <a:gd name="connsiteX4" fmla="*/ 0 w 7673419"/>
              <a:gd name="connsiteY4" fmla="*/ 492616 h 492616"/>
              <a:gd name="connsiteX5" fmla="*/ 0 w 7673419"/>
              <a:gd name="connsiteY5" fmla="*/ 292231 h 492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73419" h="492616">
                <a:moveTo>
                  <a:pt x="0" y="292231"/>
                </a:moveTo>
                <a:lnTo>
                  <a:pt x="7673419" y="0"/>
                </a:lnTo>
                <a:lnTo>
                  <a:pt x="7559571" y="292231"/>
                </a:lnTo>
                <a:lnTo>
                  <a:pt x="7559571" y="492616"/>
                </a:lnTo>
                <a:lnTo>
                  <a:pt x="0" y="492616"/>
                </a:lnTo>
                <a:lnTo>
                  <a:pt x="0" y="292231"/>
                </a:lnTo>
                <a:close/>
              </a:path>
            </a:pathLst>
          </a:custGeom>
          <a:solidFill>
            <a:srgbClr val="0842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9" name="Slza pozadi">
            <a:extLst>
              <a:ext uri="{FF2B5EF4-FFF2-40B4-BE49-F238E27FC236}">
                <a16:creationId xmlns:a16="http://schemas.microsoft.com/office/drawing/2014/main" id="{5B472087-BEB7-43F0-96A3-BDC392C6630F}"/>
              </a:ext>
            </a:extLst>
          </p:cNvPr>
          <p:cNvSpPr/>
          <p:nvPr userDrawn="1"/>
        </p:nvSpPr>
        <p:spPr>
          <a:xfrm rot="16200000">
            <a:off x="1560424" y="-947766"/>
            <a:ext cx="3157403" cy="6278252"/>
          </a:xfrm>
          <a:prstGeom prst="teardrop">
            <a:avLst/>
          </a:prstGeom>
          <a:solidFill>
            <a:srgbClr val="244865">
              <a:alpha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n-lt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0" name="Logo UZIS - skupina">
            <a:extLst>
              <a:ext uri="{FF2B5EF4-FFF2-40B4-BE49-F238E27FC236}">
                <a16:creationId xmlns:a16="http://schemas.microsoft.com/office/drawing/2014/main" id="{E1E7BBD5-891B-4A2F-BD63-5F5DA00EFD2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573965" y="6090002"/>
            <a:ext cx="4524251" cy="612428"/>
            <a:chOff x="4084311" y="378348"/>
            <a:chExt cx="5627053" cy="709095"/>
          </a:xfrm>
        </p:grpSpPr>
        <p:sp>
          <p:nvSpPr>
            <p:cNvPr id="31" name="Nazev">
              <a:extLst>
                <a:ext uri="{FF2B5EF4-FFF2-40B4-BE49-F238E27FC236}">
                  <a16:creationId xmlns:a16="http://schemas.microsoft.com/office/drawing/2014/main" id="{4C1916FE-4B88-49CD-BA58-7B74C639AF98}"/>
                </a:ext>
              </a:extLst>
            </p:cNvPr>
            <p:cNvSpPr txBox="1"/>
            <p:nvPr userDrawn="1"/>
          </p:nvSpPr>
          <p:spPr>
            <a:xfrm>
              <a:off x="5237394" y="599696"/>
              <a:ext cx="4473970" cy="4276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noProof="0" dirty="0">
                  <a:solidFill>
                    <a:srgbClr val="2B297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Ústav zdravotnických informací a statistiky České republiky</a:t>
              </a:r>
            </a:p>
            <a:p>
              <a:r>
                <a:rPr lang="en-US" sz="900" i="1" dirty="0">
                  <a:solidFill>
                    <a:srgbClr val="2B297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titute of Health Information and Statistics of the Czech Republic</a:t>
              </a:r>
            </a:p>
          </p:txBody>
        </p:sp>
        <p:pic>
          <p:nvPicPr>
            <p:cNvPr id="32" name="Logo">
              <a:extLst>
                <a:ext uri="{FF2B5EF4-FFF2-40B4-BE49-F238E27FC236}">
                  <a16:creationId xmlns:a16="http://schemas.microsoft.com/office/drawing/2014/main" id="{9F92AC57-7FC1-4571-BECE-7125420930C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84311" y="378348"/>
              <a:ext cx="1080000" cy="709095"/>
            </a:xfrm>
            <a:prstGeom prst="rect">
              <a:avLst/>
            </a:prstGeom>
          </p:spPr>
        </p:pic>
      </p:grpSp>
      <p:pic>
        <p:nvPicPr>
          <p:cNvPr id="33" name="Logo MZ CR">
            <a:extLst>
              <a:ext uri="{FF2B5EF4-FFF2-40B4-BE49-F238E27FC236}">
                <a16:creationId xmlns:a16="http://schemas.microsoft.com/office/drawing/2014/main" id="{5B7C4270-13A2-4527-A4C7-32FE9859D7F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311" y="156482"/>
            <a:ext cx="3763463" cy="324000"/>
          </a:xfrm>
          <a:prstGeom prst="rect">
            <a:avLst/>
          </a:prstGeom>
        </p:spPr>
      </p:pic>
      <p:sp>
        <p:nvSpPr>
          <p:cNvPr id="34" name="Nadpis 1">
            <a:extLst>
              <a:ext uri="{FF2B5EF4-FFF2-40B4-BE49-F238E27FC236}">
                <a16:creationId xmlns:a16="http://schemas.microsoft.com/office/drawing/2014/main" id="{DBF05EC1-AC34-4998-A874-C476BF92C7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490" y="1382511"/>
            <a:ext cx="5246408" cy="1404481"/>
          </a:xfrm>
        </p:spPr>
        <p:txBody>
          <a:bodyPr>
            <a:normAutofit/>
          </a:bodyPr>
          <a:lstStyle>
            <a:lvl1pPr algn="l">
              <a:defRPr sz="36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5" name="Zástupný text 3">
            <a:extLst>
              <a:ext uri="{FF2B5EF4-FFF2-40B4-BE49-F238E27FC236}">
                <a16:creationId xmlns:a16="http://schemas.microsoft.com/office/drawing/2014/main" id="{30F5E0A5-FA60-44D8-9106-C4F05A37F6A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506" y="5213021"/>
            <a:ext cx="11116463" cy="468000"/>
          </a:xfrm>
        </p:spPr>
        <p:txBody>
          <a:bodyPr anchor="ctr">
            <a:noAutofit/>
          </a:bodyPr>
          <a:lstStyle>
            <a:lvl1pPr marL="0" indent="0" algn="l">
              <a:buNone/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cs-CZ" dirty="0"/>
              <a:t>Vložte podnadpis</a:t>
            </a:r>
          </a:p>
        </p:txBody>
      </p:sp>
    </p:spTree>
    <p:extLst>
      <p:ext uri="{BB962C8B-B14F-4D97-AF65-F5344CB8AC3E}">
        <p14:creationId xmlns:p14="http://schemas.microsoft.com/office/powerpoint/2010/main" val="37581454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30">
          <p15:clr>
            <a:srgbClr val="FBAE40"/>
          </p15:clr>
        </p15:guide>
        <p15:guide id="2" pos="347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15695022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12" name="Obrázek 9">
            <a:extLst>
              <a:ext uri="{FF2B5EF4-FFF2-40B4-BE49-F238E27FC236}">
                <a16:creationId xmlns:a16="http://schemas.microsoft.com/office/drawing/2014/main" id="{9857DA43-5F3B-40A4-B7DD-7FB1D1A723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9768" y="177453"/>
            <a:ext cx="1470213" cy="352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753321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2726002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C0991AD9-85F6-4F26-966A-72DFBEF2D9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4C4EA-BBB6-4509-82FD-6C1C4C05004B}" type="datetimeFigureOut">
              <a:rPr lang="cs-CZ" smtClean="0"/>
              <a:t>24.10.2023</a:t>
            </a:fld>
            <a:endParaRPr lang="cs-CZ" dirty="0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692F1E13-0756-4B88-95D2-F763685E8B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5126AF7B-CF4F-4AAB-99CD-11E227268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BA2347-4413-44E4-972F-4B947EE9AB0F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81234205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>
            <a:extLst>
              <a:ext uri="{FF2B5EF4-FFF2-40B4-BE49-F238E27FC236}">
                <a16:creationId xmlns:a16="http://schemas.microsoft.com/office/drawing/2014/main" id="{63EA0E24-3DEE-4F9B-BE62-2C949AF5B0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12658"/>
            <a:ext cx="12192000" cy="4718304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EA7E5BF0-AE0D-4088-9249-900F92A0E8F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12658"/>
            <a:ext cx="12192000" cy="4718304"/>
          </a:xfrm>
          <a:prstGeom prst="rect">
            <a:avLst/>
          </a:prstGeom>
        </p:spPr>
      </p:pic>
      <p:pic>
        <p:nvPicPr>
          <p:cNvPr id="66" name="Obrázek 65" descr="cid:image001.jpg@01CED555.8CFAB4A0">
            <a:extLst>
              <a:ext uri="{FF2B5EF4-FFF2-40B4-BE49-F238E27FC236}">
                <a16:creationId xmlns:a16="http://schemas.microsoft.com/office/drawing/2014/main" id="{D17F3592-01D7-4B8C-BAC8-A15B8AA86699}"/>
              </a:ext>
            </a:extLst>
          </p:cNvPr>
          <p:cNvPicPr/>
          <p:nvPr userDrawn="1"/>
        </p:nvPicPr>
        <p:blipFill>
          <a:blip r:embed="rId4"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0159" y="6243595"/>
            <a:ext cx="4320480" cy="504056"/>
          </a:xfrm>
          <a:prstGeom prst="rect">
            <a:avLst/>
          </a:prstGeom>
          <a:noFill/>
          <a:ln>
            <a:noFill/>
          </a:ln>
        </p:spPr>
      </p:pic>
      <p:pic>
        <p:nvPicPr>
          <p:cNvPr id="67" name="Picture 9" descr="logo_mzcr">
            <a:extLst>
              <a:ext uri="{FF2B5EF4-FFF2-40B4-BE49-F238E27FC236}">
                <a16:creationId xmlns:a16="http://schemas.microsoft.com/office/drawing/2014/main" id="{285C40DD-D2EF-48E7-99A8-53B809A1EA9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677" y="137068"/>
            <a:ext cx="3896923" cy="343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Obdélník 6">
            <a:extLst>
              <a:ext uri="{FF2B5EF4-FFF2-40B4-BE49-F238E27FC236}">
                <a16:creationId xmlns:a16="http://schemas.microsoft.com/office/drawing/2014/main" id="{D4D1F535-DC44-479F-B5BD-92EA59F33323}"/>
              </a:ext>
            </a:extLst>
          </p:cNvPr>
          <p:cNvSpPr/>
          <p:nvPr userDrawn="1"/>
        </p:nvSpPr>
        <p:spPr>
          <a:xfrm>
            <a:off x="347463" y="1160781"/>
            <a:ext cx="5220082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cs-CZ" sz="2200" b="1" i="1" dirty="0">
                <a:solidFill>
                  <a:schemeClr val="bg1"/>
                </a:solidFill>
              </a:rPr>
              <a:t>Analytické studie programu Zdraví 2030: </a:t>
            </a:r>
            <a:r>
              <a:rPr lang="cs-CZ" sz="3400" b="1" dirty="0">
                <a:solidFill>
                  <a:schemeClr val="bg1"/>
                </a:solidFill>
              </a:rPr>
              <a:t>Kapacity a aktivita </a:t>
            </a:r>
          </a:p>
          <a:p>
            <a:pPr algn="l"/>
            <a:r>
              <a:rPr lang="cs-CZ" sz="3400" b="1" dirty="0">
                <a:solidFill>
                  <a:schemeClr val="bg1"/>
                </a:solidFill>
              </a:rPr>
              <a:t>PL a PLDD</a:t>
            </a:r>
          </a:p>
        </p:txBody>
      </p:sp>
      <p:pic>
        <p:nvPicPr>
          <p:cNvPr id="4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8E98422F-1202-68B7-A6C5-FD1E3B50298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8032" y="87416"/>
            <a:ext cx="1252291" cy="487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53180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58407332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35131336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CA14C61-2793-4917-88DD-5CD5C82E53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419" y="136525"/>
            <a:ext cx="10515600" cy="1325563"/>
          </a:xfr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normAutofit/>
          </a:bodyPr>
          <a:lstStyle>
            <a:lvl1pPr>
              <a:defRPr sz="3200" b="1">
                <a:solidFill>
                  <a:srgbClr val="308297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1977F3AE-8EFE-4486-A3CD-CCE34B32D9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F53B24-F7DF-4006-BC3B-7282789923AD}" type="datetimeFigureOut">
              <a:rPr lang="cs-CZ" smtClean="0"/>
              <a:t>24.10.2023</a:t>
            </a:fld>
            <a:endParaRPr lang="cs-CZ" dirty="0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76347C51-18A4-4805-9CBF-C3B721C5AF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0352435F-934C-4AD5-89DD-70A45E7E83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85C928-8E11-4BEA-8628-EA31CD02D37F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97052800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C0991AD9-85F6-4F26-966A-72DFBEF2D9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D4C4EA-BBB6-4509-82FD-6C1C4C05004B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.10.2023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692F1E13-0756-4B88-95D2-F763685E8B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5126AF7B-CF4F-4AAB-99CD-11E227268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BA2347-4413-44E4-972F-4B947EE9AB0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429681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88663726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Volný tvar 17">
            <a:extLst>
              <a:ext uri="{FF2B5EF4-FFF2-40B4-BE49-F238E27FC236}">
                <a16:creationId xmlns:a16="http://schemas.microsoft.com/office/drawing/2014/main" id="{F9DF11D7-C1A0-46F5-B20A-EE3A4700E45D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4" name="Volný tvar 19">
            <a:extLst>
              <a:ext uri="{FF2B5EF4-FFF2-40B4-BE49-F238E27FC236}">
                <a16:creationId xmlns:a16="http://schemas.microsoft.com/office/drawing/2014/main" id="{DA5EF6B5-1015-4E5F-BC7C-2B0B40DC4C74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29450956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CA14C61-2793-4917-88DD-5CD5C82E53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419" y="136525"/>
            <a:ext cx="10515600" cy="1325563"/>
          </a:xfr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normAutofit/>
          </a:bodyPr>
          <a:lstStyle>
            <a:lvl1pPr>
              <a:defRPr sz="3200" b="1">
                <a:solidFill>
                  <a:srgbClr val="308297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1977F3AE-8EFE-4486-A3CD-CCE34B32D9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F53B24-F7DF-4006-BC3B-7282789923AD}" type="datetimeFigureOut">
              <a:rPr lang="cs-CZ" smtClean="0"/>
              <a:t>24.10.2023</a:t>
            </a:fld>
            <a:endParaRPr lang="cs-CZ" dirty="0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76347C51-18A4-4805-9CBF-C3B721C5AF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0352435F-934C-4AD5-89DD-70A45E7E83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85C928-8E11-4BEA-8628-EA31CD02D37F}" type="slidenum">
              <a:rPr lang="cs-CZ" smtClean="0"/>
              <a:t>‹#›</a:t>
            </a:fld>
            <a:endParaRPr lang="cs-CZ" dirty="0"/>
          </a:p>
        </p:txBody>
      </p:sp>
      <p:sp>
        <p:nvSpPr>
          <p:cNvPr id="6" name="Volný tvar 17">
            <a:extLst>
              <a:ext uri="{FF2B5EF4-FFF2-40B4-BE49-F238E27FC236}">
                <a16:creationId xmlns:a16="http://schemas.microsoft.com/office/drawing/2014/main" id="{7C09112F-EEC7-4DCD-840B-D95420A06742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5BCC72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Volný tvar 19">
            <a:extLst>
              <a:ext uri="{FF2B5EF4-FFF2-40B4-BE49-F238E27FC236}">
                <a16:creationId xmlns:a16="http://schemas.microsoft.com/office/drawing/2014/main" id="{023184B2-F475-498F-950C-ADB6FB95B929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308297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107223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adpis,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2F86E3AE-C4C5-CA9A-34B2-F60AC1774F1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31838" y="1664058"/>
            <a:ext cx="10728325" cy="4428000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203DDD2B-94B5-4D6B-B92F-71E4B2701400}"/>
              </a:ext>
            </a:extLst>
          </p:cNvPr>
          <p:cNvSpPr/>
          <p:nvPr userDrawn="1"/>
        </p:nvSpPr>
        <p:spPr>
          <a:xfrm>
            <a:off x="0" y="0"/>
            <a:ext cx="6096000" cy="237600"/>
          </a:xfrm>
          <a:prstGeom prst="rect">
            <a:avLst/>
          </a:prstGeom>
          <a:solidFill>
            <a:srgbClr val="2C2F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BA72D03A-0F35-4A68-824B-364CAA4CDC0F}"/>
              </a:ext>
            </a:extLst>
          </p:cNvPr>
          <p:cNvSpPr/>
          <p:nvPr userDrawn="1"/>
        </p:nvSpPr>
        <p:spPr>
          <a:xfrm>
            <a:off x="0" y="475199"/>
            <a:ext cx="1080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CE39D634-FBD8-0067-14B8-7CF2FC0D70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0000" y="475199"/>
            <a:ext cx="9802034" cy="720000"/>
          </a:xfrm>
        </p:spPr>
        <p:txBody>
          <a:bodyPr lIns="0"/>
          <a:lstStyle>
            <a:lvl1pPr>
              <a:defRPr sz="2400"/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pic>
        <p:nvPicPr>
          <p:cNvPr id="5" name="Grafický objekt 4">
            <a:extLst>
              <a:ext uri="{FF2B5EF4-FFF2-40B4-BE49-F238E27FC236}">
                <a16:creationId xmlns:a16="http://schemas.microsoft.com/office/drawing/2014/main" id="{A1536B8C-AE16-1CDA-FCD0-971A3B206F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9783" y="637853"/>
            <a:ext cx="600434" cy="39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0927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0F433C8-18E1-4F4A-82D3-230E28E63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EFCAF9B-B07C-4F60-8B52-9DD2AF2F48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B4ACB9BC-1AC8-4046-9EDF-BEBC10C992D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1E5FEF63-7A63-4DB6-BDAA-4EAA1AB25A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4C4EA-BBB6-4509-82FD-6C1C4C05004B}" type="datetimeFigureOut">
              <a:rPr lang="cs-CZ" smtClean="0"/>
              <a:t>24.10.2023</a:t>
            </a:fld>
            <a:endParaRPr lang="cs-CZ" dirty="0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A1118FE-3E68-4D2E-AE4B-7A1AD578CF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1842F0A7-918C-40E7-A8B9-FC8385C10A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BA2347-4413-44E4-972F-4B947EE9AB0F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5511058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7.xml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5" Type="http://schemas.openxmlformats.org/officeDocument/2006/relationships/theme" Target="../theme/theme10.xml"/><Relationship Id="rId4" Type="http://schemas.openxmlformats.org/officeDocument/2006/relationships/slideLayout" Target="../slideLayouts/slideLayout8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theme" Target="../theme/theme6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2" Type="http://schemas.openxmlformats.org/officeDocument/2006/relationships/slideLayout" Target="../slideLayouts/slideLayout69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5" Type="http://schemas.openxmlformats.org/officeDocument/2006/relationships/slideLayout" Target="../slideLayouts/slideLayout72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71.xml"/><Relationship Id="rId9" Type="http://schemas.openxmlformats.org/officeDocument/2006/relationships/image" Target="../media/image1.emf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7.xml"/><Relationship Id="rId7" Type="http://schemas.openxmlformats.org/officeDocument/2006/relationships/theme" Target="../theme/theme8.xml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8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3.x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5" Type="http://schemas.openxmlformats.org/officeDocument/2006/relationships/theme" Target="../theme/theme9.xml"/><Relationship Id="rId4" Type="http://schemas.openxmlformats.org/officeDocument/2006/relationships/slideLayout" Target="../slideLayouts/slideLayout8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8D3025AB-2E16-4A48-BDB9-41D303206D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0680C11-DFFA-4F66-9458-68BE0DFBDD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8D22997-4F24-49AF-A58E-7D60FF3D606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D4C4EA-BBB6-4509-82FD-6C1C4C05004B}" type="datetimeFigureOut">
              <a:rPr lang="cs-CZ" smtClean="0"/>
              <a:t>24.10.2023</a:t>
            </a:fld>
            <a:endParaRPr lang="cs-CZ" dirty="0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DC7EE7C-85E8-4755-A3AF-44ABB70E26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 dirty="0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F8545C4-5766-4E89-93BF-FC1AD4A5B8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BA2347-4413-44E4-972F-4B947EE9AB0F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7677582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F2E18D3E-0080-41D8-A636-9F205DA281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7A485CB-C3A3-43A2-806E-55CBAC815D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4F37910D-F120-4114-8358-60F61E2E80E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A996E8-D44D-4D29-B5B3-6A5042537ABD}" type="datetimeFigureOut">
              <a:rPr lang="cs-CZ" smtClean="0"/>
              <a:t>24.10.2023</a:t>
            </a:fld>
            <a:endParaRPr lang="cs-CZ" dirty="0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7A43518-2B36-4A43-975E-CA24246CE7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 dirty="0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7FA21C1-724A-4575-BEF1-4E328ABE7A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3C84DE-2398-4D7B-94B3-F67D47F3B35D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90353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3" r:id="rId1"/>
    <p:sldLayoutId id="2147483864" r:id="rId2"/>
    <p:sldLayoutId id="2147483865" r:id="rId3"/>
    <p:sldLayoutId id="2147483866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F2E18D3E-0080-41D8-A636-9F205DA281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7A485CB-C3A3-43A2-806E-55CBAC815D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4F37910D-F120-4114-8358-60F61E2E80E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A996E8-D44D-4D29-B5B3-6A5042537ABD}" type="datetimeFigureOut">
              <a:rPr lang="cs-CZ" smtClean="0"/>
              <a:t>24.10.2023</a:t>
            </a:fld>
            <a:endParaRPr lang="cs-CZ" dirty="0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7A43518-2B36-4A43-975E-CA24246CE7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 dirty="0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7FA21C1-724A-4575-BEF1-4E328ABE7A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3C84DE-2398-4D7B-94B3-F67D47F3B35D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1716510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22" r:id="rId5"/>
    <p:sldLayoutId id="2147483806" r:id="rId6"/>
    <p:sldLayoutId id="2147483856" r:id="rId7"/>
    <p:sldLayoutId id="2147483857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E3C608E-1773-4D7C-B1F9-D345C6441D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861F67-3976-475C-90DA-B928AD17D1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3E9C59-A99C-464F-89D9-D602CBCA4D6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7FFC15-7946-4D1F-89D0-327F959ADCB6}" type="datetimeFigureOut">
              <a:rPr lang="cs-CZ" smtClean="0"/>
              <a:t>24.10.2023</a:t>
            </a:fld>
            <a:endParaRPr lang="cs-CZ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2E6D95-7AA1-4C51-BBCB-E87AB8BB14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EEA61E-3CF2-47A3-8869-7E21EF494E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6531FB-58BB-4FC0-8444-1459D7B60734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710386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  <p:sldLayoutId id="2147483747" r:id="rId12"/>
    <p:sldLayoutId id="2147483848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7535631C-4CDD-42C2-A7AD-9AA51AFBB8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0010DE45-F4C7-4C3F-B3D7-F5ED14ED00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18A5DE6-F4CE-43D4-9B38-F7564481CDE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3550C1-90E3-48F0-81D4-692D92D9D800}" type="datetimeFigureOut">
              <a:rPr lang="cs-CZ" smtClean="0"/>
              <a:t>24.10.2023</a:t>
            </a:fld>
            <a:endParaRPr lang="cs-CZ" dirty="0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9B68E6B-3635-4F98-86A1-C42C823AD9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 dirty="0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ADC5EA2-659F-491D-ACEB-F665442B1D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181511-F24E-4788-83D8-296E9F7D633C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1885370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5" r:id="rId2"/>
    <p:sldLayoutId id="2147483766" r:id="rId3"/>
    <p:sldLayoutId id="2147483767" r:id="rId4"/>
    <p:sldLayoutId id="2147483768" r:id="rId5"/>
    <p:sldLayoutId id="2147483769" r:id="rId6"/>
    <p:sldLayoutId id="2147483770" r:id="rId7"/>
    <p:sldLayoutId id="2147483771" r:id="rId8"/>
    <p:sldLayoutId id="2147483772" r:id="rId9"/>
    <p:sldLayoutId id="2147483773" r:id="rId10"/>
    <p:sldLayoutId id="2147483774" r:id="rId11"/>
    <p:sldLayoutId id="2147483775" r:id="rId12"/>
    <p:sldLayoutId id="2147483776" r:id="rId13"/>
    <p:sldLayoutId id="2147483777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F2E18D3E-0080-41D8-A636-9F205DA281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7A485CB-C3A3-43A2-806E-55CBAC815D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4F37910D-F120-4114-8358-60F61E2E80E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 dirty="0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7A43518-2B36-4A43-975E-CA24246CE7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 dirty="0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7FA21C1-724A-4575-BEF1-4E328ABE7A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3C84DE-2398-4D7B-94B3-F67D47F3B35D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8988114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9" r:id="rId1"/>
    <p:sldLayoutId id="2147483780" r:id="rId2"/>
    <p:sldLayoutId id="2147483847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062889BC-EF59-49C6-5333-C71E0D6B32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5A368283-6357-58E9-66DB-349AC4528A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A190314-308A-BEB6-A115-0312B537BF9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AE2421-3460-6A45-AE59-CB915AFC454F}" type="datetime1">
              <a:rPr lang="cs-CZ" smtClean="0"/>
              <a:t>24.10.2023</a:t>
            </a:fld>
            <a:endParaRPr lang="cs-CZ" dirty="0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2B49EBC-7138-4E1F-C67E-E6233770A0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 dirty="0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00E08AD-49C4-D167-CC53-B843FC0704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629FD-AEF2-1E44-B061-1A1663B65833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2694040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  <p:sldLayoutId id="2147483790" r:id="rId5"/>
    <p:sldLayoutId id="2147483791" r:id="rId6"/>
    <p:sldLayoutId id="2147483792" r:id="rId7"/>
    <p:sldLayoutId id="2147483793" r:id="rId8"/>
    <p:sldLayoutId id="2147483794" r:id="rId9"/>
    <p:sldLayoutId id="2147483795" r:id="rId10"/>
    <p:sldLayoutId id="2147483796" r:id="rId11"/>
    <p:sldLayoutId id="2147483797" r:id="rId12"/>
    <p:sldLayoutId id="2147483798" r:id="rId13"/>
    <p:sldLayoutId id="2147483799" r:id="rId14"/>
    <p:sldLayoutId id="2147483800" r:id="rId15"/>
    <p:sldLayoutId id="2147483801" r:id="rId16"/>
    <p:sldLayoutId id="2147483802" r:id="rId1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8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6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orient="horz" pos="3861">
          <p15:clr>
            <a:srgbClr val="F26B43"/>
          </p15:clr>
        </p15:guide>
        <p15:guide id="5" pos="7219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09600" y="764705"/>
            <a:ext cx="109728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6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24.10.2023</a:t>
            </a:fld>
            <a:endParaRPr lang="cs-CZ" dirty="0"/>
          </a:p>
        </p:txBody>
      </p:sp>
      <p:sp>
        <p:nvSpPr>
          <p:cNvPr id="1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5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2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5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3" name="Obdélník 22"/>
          <p:cNvSpPr/>
          <p:nvPr userDrawn="1"/>
        </p:nvSpPr>
        <p:spPr>
          <a:xfrm>
            <a:off x="0" y="6272893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chemeClr val="accent2"/>
              </a:solidFill>
            </a:endParaRPr>
          </a:p>
        </p:txBody>
      </p:sp>
      <p:pic>
        <p:nvPicPr>
          <p:cNvPr id="32" name="Obrázek 31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4024" y="6398523"/>
            <a:ext cx="714833" cy="360000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666" y="6431172"/>
            <a:ext cx="5017951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6624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17" r:id="rId2"/>
    <p:sldLayoutId id="2147483818" r:id="rId3"/>
    <p:sldLayoutId id="2147483819" r:id="rId4"/>
    <p:sldLayoutId id="2147483820" r:id="rId5"/>
    <p:sldLayoutId id="2147483821" r:id="rId6"/>
    <p:sldLayoutId id="2147483846" r:id="rId7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F2E18D3E-0080-41D8-A636-9F205DA281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7A485CB-C3A3-43A2-806E-55CBAC815D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4F37910D-F120-4114-8358-60F61E2E80E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 dirty="0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7A43518-2B36-4A43-975E-CA24246CE7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 dirty="0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7FA21C1-724A-4575-BEF1-4E328ABE7A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3C84DE-2398-4D7B-94B3-F67D47F3B35D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9584750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40" r:id="rId2"/>
    <p:sldLayoutId id="2147483841" r:id="rId3"/>
    <p:sldLayoutId id="2147483842" r:id="rId4"/>
    <p:sldLayoutId id="2147483843" r:id="rId5"/>
    <p:sldLayoutId id="2147483845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F2E18D3E-0080-41D8-A636-9F205DA281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7A485CB-C3A3-43A2-806E-55CBAC815D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4F37910D-F120-4114-8358-60F61E2E80E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A996E8-D44D-4D29-B5B3-6A5042537ABD}" type="datetimeFigureOut">
              <a:rPr lang="cs-CZ" smtClean="0"/>
              <a:t>24.10.2023</a:t>
            </a:fld>
            <a:endParaRPr lang="cs-CZ" dirty="0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7A43518-2B36-4A43-975E-CA24246CE7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 dirty="0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7FA21C1-724A-4575-BEF1-4E328ABE7A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3C84DE-2398-4D7B-94B3-F67D47F3B35D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80894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9" r:id="rId1"/>
    <p:sldLayoutId id="2147483860" r:id="rId2"/>
    <p:sldLayoutId id="2147483861" r:id="rId3"/>
    <p:sldLayoutId id="2147483867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file:////Users/davidsmehlik/Library/Group%20Containers/UBF8T346G9.ms/WebArchiveCopyPasteTempFiles/com.microsoft.Word/logo.jpg" TargetMode="External"/><Relationship Id="rId3" Type="http://schemas.openxmlformats.org/officeDocument/2006/relationships/image" Target="../media/image58.svg"/><Relationship Id="rId7" Type="http://schemas.openxmlformats.org/officeDocument/2006/relationships/image" Target="../media/image61.jpe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42.xml"/><Relationship Id="rId6" Type="http://schemas.openxmlformats.org/officeDocument/2006/relationships/image" Target="file:////Users/davidsmehlik/Library/Group%20Containers/UBF8T346G9.ms/WebArchiveCopyPasteTempFiles/com.microsoft.Word/splcr-logo.png" TargetMode="External"/><Relationship Id="rId5" Type="http://schemas.openxmlformats.org/officeDocument/2006/relationships/image" Target="../media/image60.png"/><Relationship Id="rId4" Type="http://schemas.openxmlformats.org/officeDocument/2006/relationships/image" Target="../media/image59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chart" Target="../charts/chart6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slideLayout" Target="../slideLayouts/slideLayout16.xml"/><Relationship Id="rId2" Type="http://schemas.openxmlformats.org/officeDocument/2006/relationships/tags" Target="../tags/tag22.xml"/><Relationship Id="rId16" Type="http://schemas.openxmlformats.org/officeDocument/2006/relationships/tags" Target="../tags/tag36.xml"/><Relationship Id="rId20" Type="http://schemas.openxmlformats.org/officeDocument/2006/relationships/chart" Target="../charts/chart8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10" Type="http://schemas.openxmlformats.org/officeDocument/2006/relationships/tags" Target="../tags/tag30.xml"/><Relationship Id="rId19" Type="http://schemas.openxmlformats.org/officeDocument/2006/relationships/chart" Target="../charts/chart7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13" Type="http://schemas.openxmlformats.org/officeDocument/2006/relationships/tags" Target="../tags/tag49.xml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12" Type="http://schemas.openxmlformats.org/officeDocument/2006/relationships/tags" Target="../tags/tag48.xml"/><Relationship Id="rId2" Type="http://schemas.openxmlformats.org/officeDocument/2006/relationships/tags" Target="../tags/tag38.xml"/><Relationship Id="rId16" Type="http://schemas.openxmlformats.org/officeDocument/2006/relationships/chart" Target="../charts/chart10.xml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11" Type="http://schemas.openxmlformats.org/officeDocument/2006/relationships/tags" Target="../tags/tag47.xml"/><Relationship Id="rId5" Type="http://schemas.openxmlformats.org/officeDocument/2006/relationships/tags" Target="../tags/tag41.xml"/><Relationship Id="rId15" Type="http://schemas.openxmlformats.org/officeDocument/2006/relationships/chart" Target="../charts/chart9.xml"/><Relationship Id="rId10" Type="http://schemas.openxmlformats.org/officeDocument/2006/relationships/tags" Target="../tags/tag46.xml"/><Relationship Id="rId4" Type="http://schemas.openxmlformats.org/officeDocument/2006/relationships/tags" Target="../tags/tag40.xml"/><Relationship Id="rId9" Type="http://schemas.openxmlformats.org/officeDocument/2006/relationships/tags" Target="../tags/tag45.xml"/><Relationship Id="rId14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4" Type="http://schemas.openxmlformats.org/officeDocument/2006/relationships/image" Target="../media/image63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chart" Target="../charts/chart11.xml"/><Relationship Id="rId5" Type="http://schemas.openxmlformats.org/officeDocument/2006/relationships/image" Target="../media/image63.emf"/><Relationship Id="rId4" Type="http://schemas.openxmlformats.org/officeDocument/2006/relationships/notesSlide" Target="../notesSlides/notesSlide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5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4" Type="http://schemas.openxmlformats.org/officeDocument/2006/relationships/image" Target="../media/image64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5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5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59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4" Type="http://schemas.openxmlformats.org/officeDocument/2006/relationships/slideLayout" Target="../slideLayouts/slideLayout20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2.xml"/><Relationship Id="rId3" Type="http://schemas.openxmlformats.org/officeDocument/2006/relationships/tags" Target="../tags/tag65.xml"/><Relationship Id="rId7" Type="http://schemas.openxmlformats.org/officeDocument/2006/relationships/slideLayout" Target="../slideLayouts/slideLayout82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5" Type="http://schemas.openxmlformats.org/officeDocument/2006/relationships/tags" Target="../tags/tag67.xml"/><Relationship Id="rId4" Type="http://schemas.openxmlformats.org/officeDocument/2006/relationships/tags" Target="../tags/tag66.xml"/><Relationship Id="rId9" Type="http://schemas.openxmlformats.org/officeDocument/2006/relationships/chart" Target="../charts/char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0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ec.europa.eu/eurostat/databrowser/view/HLTH_RS_SPEC__custom_6422816/default/table?lang=en" TargetMode="External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88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slideLayout" Target="../slideLayouts/slideLayout84.xml"/><Relationship Id="rId1" Type="http://schemas.openxmlformats.org/officeDocument/2006/relationships/tags" Target="../tags/tag69.xml"/><Relationship Id="rId4" Type="http://schemas.openxmlformats.org/officeDocument/2006/relationships/chart" Target="../charts/chart1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15.xml"/><Relationship Id="rId4" Type="http://schemas.openxmlformats.org/officeDocument/2006/relationships/chart" Target="../charts/chart19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5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1.xml"/><Relationship Id="rId3" Type="http://schemas.openxmlformats.org/officeDocument/2006/relationships/tags" Target="../tags/tag72.xml"/><Relationship Id="rId7" Type="http://schemas.openxmlformats.org/officeDocument/2006/relationships/notesSlide" Target="../notesSlides/notesSlide9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slideLayout" Target="../slideLayouts/slideLayout16.xml"/><Relationship Id="rId5" Type="http://schemas.openxmlformats.org/officeDocument/2006/relationships/tags" Target="../tags/tag74.xml"/><Relationship Id="rId4" Type="http://schemas.openxmlformats.org/officeDocument/2006/relationships/tags" Target="../tags/tag73.xml"/><Relationship Id="rId9" Type="http://schemas.openxmlformats.org/officeDocument/2006/relationships/image" Target="../media/image65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13" Type="http://schemas.openxmlformats.org/officeDocument/2006/relationships/tags" Target="../tags/tag87.xml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12" Type="http://schemas.openxmlformats.org/officeDocument/2006/relationships/tags" Target="../tags/tag86.xml"/><Relationship Id="rId17" Type="http://schemas.openxmlformats.org/officeDocument/2006/relationships/chart" Target="../charts/chart23.xml"/><Relationship Id="rId2" Type="http://schemas.openxmlformats.org/officeDocument/2006/relationships/tags" Target="../tags/tag76.xml"/><Relationship Id="rId16" Type="http://schemas.openxmlformats.org/officeDocument/2006/relationships/chart" Target="../charts/chart22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11" Type="http://schemas.openxmlformats.org/officeDocument/2006/relationships/tags" Target="../tags/tag85.xml"/><Relationship Id="rId5" Type="http://schemas.openxmlformats.org/officeDocument/2006/relationships/tags" Target="../tags/tag79.xml"/><Relationship Id="rId15" Type="http://schemas.openxmlformats.org/officeDocument/2006/relationships/notesSlide" Target="../notesSlides/notesSlide10.xml"/><Relationship Id="rId10" Type="http://schemas.openxmlformats.org/officeDocument/2006/relationships/tags" Target="../tags/tag84.xml"/><Relationship Id="rId4" Type="http://schemas.openxmlformats.org/officeDocument/2006/relationships/tags" Target="../tags/tag78.xml"/><Relationship Id="rId9" Type="http://schemas.openxmlformats.org/officeDocument/2006/relationships/tags" Target="../tags/tag83.xml"/><Relationship Id="rId14" Type="http://schemas.openxmlformats.org/officeDocument/2006/relationships/slideLayout" Target="../slideLayouts/slideLayout16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tags" Target="../tags/tag95.xml"/><Relationship Id="rId13" Type="http://schemas.openxmlformats.org/officeDocument/2006/relationships/tags" Target="../tags/tag100.xml"/><Relationship Id="rId18" Type="http://schemas.openxmlformats.org/officeDocument/2006/relationships/chart" Target="../charts/chart26.xml"/><Relationship Id="rId3" Type="http://schemas.openxmlformats.org/officeDocument/2006/relationships/tags" Target="../tags/tag90.xml"/><Relationship Id="rId7" Type="http://schemas.openxmlformats.org/officeDocument/2006/relationships/tags" Target="../tags/tag94.xml"/><Relationship Id="rId12" Type="http://schemas.openxmlformats.org/officeDocument/2006/relationships/tags" Target="../tags/tag99.xml"/><Relationship Id="rId17" Type="http://schemas.openxmlformats.org/officeDocument/2006/relationships/chart" Target="../charts/chart25.xml"/><Relationship Id="rId2" Type="http://schemas.openxmlformats.org/officeDocument/2006/relationships/tags" Target="../tags/tag89.xml"/><Relationship Id="rId16" Type="http://schemas.openxmlformats.org/officeDocument/2006/relationships/chart" Target="../charts/chart24.xml"/><Relationship Id="rId1" Type="http://schemas.openxmlformats.org/officeDocument/2006/relationships/tags" Target="../tags/tag88.xml"/><Relationship Id="rId6" Type="http://schemas.openxmlformats.org/officeDocument/2006/relationships/tags" Target="../tags/tag93.xml"/><Relationship Id="rId11" Type="http://schemas.openxmlformats.org/officeDocument/2006/relationships/tags" Target="../tags/tag98.xml"/><Relationship Id="rId5" Type="http://schemas.openxmlformats.org/officeDocument/2006/relationships/tags" Target="../tags/tag92.xml"/><Relationship Id="rId15" Type="http://schemas.openxmlformats.org/officeDocument/2006/relationships/slideLayout" Target="../slideLayouts/slideLayout16.xml"/><Relationship Id="rId10" Type="http://schemas.openxmlformats.org/officeDocument/2006/relationships/tags" Target="../tags/tag97.xml"/><Relationship Id="rId4" Type="http://schemas.openxmlformats.org/officeDocument/2006/relationships/tags" Target="../tags/tag91.xml"/><Relationship Id="rId9" Type="http://schemas.openxmlformats.org/officeDocument/2006/relationships/tags" Target="../tags/tag96.xml"/><Relationship Id="rId14" Type="http://schemas.openxmlformats.org/officeDocument/2006/relationships/tags" Target="../tags/tag101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tags" Target="../tags/tag109.xml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tags" Target="../tags/tag107.xml"/><Relationship Id="rId5" Type="http://schemas.openxmlformats.org/officeDocument/2006/relationships/tags" Target="../tags/tag106.xml"/><Relationship Id="rId10" Type="http://schemas.openxmlformats.org/officeDocument/2006/relationships/notesSlide" Target="../notesSlides/notesSlide11.xml"/><Relationship Id="rId4" Type="http://schemas.openxmlformats.org/officeDocument/2006/relationships/tags" Target="../tags/tag105.xml"/><Relationship Id="rId9" Type="http://schemas.openxmlformats.org/officeDocument/2006/relationships/slideLayout" Target="../slideLayouts/slideLayout16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56.xml"/><Relationship Id="rId1" Type="http://schemas.openxmlformats.org/officeDocument/2006/relationships/tags" Target="../tags/tag20.xml"/><Relationship Id="rId4" Type="http://schemas.openxmlformats.org/officeDocument/2006/relationships/hyperlink" Target="https://ec.europa.eu/eurostat/databrowser/view/HLTH_RS_SPEC__custom_6422816/default/table?lang=en" TargetMode="Externa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6" name="Rectangle 15">
            <a:extLst>
              <a:ext uri="{FF2B5EF4-FFF2-40B4-BE49-F238E27FC236}">
                <a16:creationId xmlns:a16="http://schemas.microsoft.com/office/drawing/2014/main" id="{EDDBB197-D710-4A4F-A9CA-FD2177498B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75D1CFA-2CDB-4B64-BD9F-85744E8DA1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B72CAF3B-DAAC-8E41-DA67-06DB614957B9}"/>
              </a:ext>
            </a:extLst>
          </p:cNvPr>
          <p:cNvSpPr txBox="1"/>
          <p:nvPr/>
        </p:nvSpPr>
        <p:spPr>
          <a:xfrm>
            <a:off x="200721" y="2129951"/>
            <a:ext cx="6746488" cy="26752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kern="1200" dirty="0">
                <a:solidFill>
                  <a:schemeClr val="accent1"/>
                </a:solidFill>
                <a:latin typeface="Avenir Next" panose="020B0503020202020204" pitchFamily="34" charset="0"/>
                <a:ea typeface="+mj-ea"/>
                <a:cs typeface="+mj-cs"/>
              </a:rPr>
              <a:t>Kulatý stůl</a:t>
            </a:r>
            <a:r>
              <a:rPr lang="en-US" sz="3800" b="1" dirty="0">
                <a:solidFill>
                  <a:schemeClr val="accent1"/>
                </a:solidFill>
                <a:latin typeface="Avenir Next" panose="020B0503020202020204" pitchFamily="34" charset="0"/>
                <a:ea typeface="+mj-ea"/>
                <a:cs typeface="+mj-cs"/>
              </a:rPr>
              <a:t>   12.09.2023</a:t>
            </a:r>
          </a:p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1000" b="1" dirty="0">
              <a:solidFill>
                <a:schemeClr val="accent1"/>
              </a:solidFill>
              <a:latin typeface="Avenir Next Condensed" panose="020B0506020202020204" pitchFamily="34" charset="0"/>
              <a:ea typeface="+mj-ea"/>
              <a:cs typeface="+mj-cs"/>
            </a:endParaRPr>
          </a:p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cs-CZ" sz="3200" dirty="0">
                <a:solidFill>
                  <a:schemeClr val="accent1"/>
                </a:solidFill>
                <a:effectLst/>
                <a:latin typeface="Avenir Next Condensed" panose="020B0506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„Vývoj dostupnosti primární péče, kapacity, trendy, využití potenciálu primární péče“</a:t>
            </a:r>
            <a:r>
              <a:rPr lang="cs-CZ" sz="3200" dirty="0">
                <a:solidFill>
                  <a:schemeClr val="accent1"/>
                </a:solidFill>
                <a:effectLst/>
                <a:latin typeface="Avenir Next Condensed" panose="020B0506020202020204" pitchFamily="34" charset="0"/>
              </a:rPr>
              <a:t> </a:t>
            </a:r>
            <a:endParaRPr lang="en-US" sz="3200" kern="1200" dirty="0">
              <a:solidFill>
                <a:schemeClr val="accent1"/>
              </a:solidFill>
              <a:latin typeface="Avenir Next Condensed" panose="020B0506020202020204" pitchFamily="34" charset="0"/>
              <a:ea typeface="+mj-ea"/>
              <a:cs typeface="+mj-cs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5EE5136-01F1-466C-962D-BA9B4C6757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6369897" y="0"/>
            <a:ext cx="5822103" cy="6685267"/>
            <a:chOff x="6357228" y="0"/>
            <a:chExt cx="5822103" cy="6685267"/>
          </a:xfrm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E11D3AD4-AF9B-4EB5-8C7B-C45D173B4B5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357228" y="0"/>
              <a:ext cx="5822102" cy="6685267"/>
            </a:xfrm>
            <a:custGeom>
              <a:avLst/>
              <a:gdLst>
                <a:gd name="connsiteX0" fmla="*/ 2605444 w 5822102"/>
                <a:gd name="connsiteY0" fmla="*/ 0 h 6685267"/>
                <a:gd name="connsiteX1" fmla="*/ 4757391 w 5822102"/>
                <a:gd name="connsiteY1" fmla="*/ 0 h 6685267"/>
                <a:gd name="connsiteX2" fmla="*/ 4913680 w 5822102"/>
                <a:gd name="connsiteY2" fmla="*/ 56274 h 6685267"/>
                <a:gd name="connsiteX3" fmla="*/ 5376238 w 5822102"/>
                <a:gd name="connsiteY3" fmla="*/ 282027 h 6685267"/>
                <a:gd name="connsiteX4" fmla="*/ 5658024 w 5822102"/>
                <a:gd name="connsiteY4" fmla="*/ 471014 h 6685267"/>
                <a:gd name="connsiteX5" fmla="*/ 5822102 w 5822102"/>
                <a:gd name="connsiteY5" fmla="*/ 609109 h 6685267"/>
                <a:gd name="connsiteX6" fmla="*/ 5822102 w 5822102"/>
                <a:gd name="connsiteY6" fmla="*/ 760697 h 6685267"/>
                <a:gd name="connsiteX7" fmla="*/ 5707785 w 5822102"/>
                <a:gd name="connsiteY7" fmla="*/ 666601 h 6685267"/>
                <a:gd name="connsiteX8" fmla="*/ 5577306 w 5822102"/>
                <a:gd name="connsiteY8" fmla="*/ 571666 h 6685267"/>
                <a:gd name="connsiteX9" fmla="*/ 5298630 w 5822102"/>
                <a:gd name="connsiteY9" fmla="*/ 407449 h 6685267"/>
                <a:gd name="connsiteX10" fmla="*/ 4690768 w 5822102"/>
                <a:gd name="connsiteY10" fmla="*/ 184979 h 6685267"/>
                <a:gd name="connsiteX11" fmla="*/ 4048577 w 5822102"/>
                <a:gd name="connsiteY11" fmla="*/ 99280 h 6685267"/>
                <a:gd name="connsiteX12" fmla="*/ 3405404 w 5822102"/>
                <a:gd name="connsiteY12" fmla="*/ 131937 h 6685267"/>
                <a:gd name="connsiteX13" fmla="*/ 3089702 w 5822102"/>
                <a:gd name="connsiteY13" fmla="*/ 190190 h 6685267"/>
                <a:gd name="connsiteX14" fmla="*/ 2780132 w 5822102"/>
                <a:gd name="connsiteY14" fmla="*/ 273457 h 6685267"/>
                <a:gd name="connsiteX15" fmla="*/ 2478040 w 5822102"/>
                <a:gd name="connsiteY15" fmla="*/ 379654 h 6685267"/>
                <a:gd name="connsiteX16" fmla="*/ 2184897 w 5822102"/>
                <a:gd name="connsiteY16" fmla="*/ 507972 h 6685267"/>
                <a:gd name="connsiteX17" fmla="*/ 1629141 w 5822102"/>
                <a:gd name="connsiteY17" fmla="*/ 823205 h 6685267"/>
                <a:gd name="connsiteX18" fmla="*/ 1497711 w 5822102"/>
                <a:gd name="connsiteY18" fmla="*/ 914000 h 6685267"/>
                <a:gd name="connsiteX19" fmla="*/ 1433099 w 5822102"/>
                <a:gd name="connsiteY19" fmla="*/ 960903 h 6685267"/>
                <a:gd name="connsiteX20" fmla="*/ 1369346 w 5822102"/>
                <a:gd name="connsiteY20" fmla="*/ 1008963 h 6685267"/>
                <a:gd name="connsiteX21" fmla="*/ 1123406 w 5822102"/>
                <a:gd name="connsiteY21" fmla="*/ 1212905 h 6685267"/>
                <a:gd name="connsiteX22" fmla="*/ 684367 w 5822102"/>
                <a:gd name="connsiteY22" fmla="*/ 1675564 h 6685267"/>
                <a:gd name="connsiteX23" fmla="*/ 497153 w 5822102"/>
                <a:gd name="connsiteY23" fmla="*/ 1933588 h 6685267"/>
                <a:gd name="connsiteX24" fmla="*/ 337770 w 5822102"/>
                <a:gd name="connsiteY24" fmla="*/ 2208983 h 6685267"/>
                <a:gd name="connsiteX25" fmla="*/ 302461 w 5822102"/>
                <a:gd name="connsiteY25" fmla="*/ 2280207 h 6685267"/>
                <a:gd name="connsiteX26" fmla="*/ 285296 w 5822102"/>
                <a:gd name="connsiteY26" fmla="*/ 2316107 h 6685267"/>
                <a:gd name="connsiteX27" fmla="*/ 268991 w 5822102"/>
                <a:gd name="connsiteY27" fmla="*/ 2352355 h 6685267"/>
                <a:gd name="connsiteX28" fmla="*/ 237849 w 5822102"/>
                <a:gd name="connsiteY28" fmla="*/ 2425432 h 6685267"/>
                <a:gd name="connsiteX29" fmla="*/ 208670 w 5822102"/>
                <a:gd name="connsiteY29" fmla="*/ 2499319 h 6685267"/>
                <a:gd name="connsiteX30" fmla="*/ 113775 w 5822102"/>
                <a:gd name="connsiteY30" fmla="*/ 2801929 h 6685267"/>
                <a:gd name="connsiteX31" fmla="*/ 36781 w 5822102"/>
                <a:gd name="connsiteY31" fmla="*/ 3428922 h 6685267"/>
                <a:gd name="connsiteX32" fmla="*/ 69148 w 5822102"/>
                <a:gd name="connsiteY32" fmla="*/ 3741955 h 6685267"/>
                <a:gd name="connsiteX33" fmla="*/ 167966 w 5822102"/>
                <a:gd name="connsiteY33" fmla="*/ 4041323 h 6685267"/>
                <a:gd name="connsiteX34" fmla="*/ 202049 w 5822102"/>
                <a:gd name="connsiteY34" fmla="*/ 4112894 h 6685267"/>
                <a:gd name="connsiteX35" fmla="*/ 239933 w 5822102"/>
                <a:gd name="connsiteY35" fmla="*/ 4182843 h 6685267"/>
                <a:gd name="connsiteX36" fmla="*/ 323916 w 5822102"/>
                <a:gd name="connsiteY36" fmla="*/ 4318456 h 6685267"/>
                <a:gd name="connsiteX37" fmla="*/ 416604 w 5822102"/>
                <a:gd name="connsiteY37" fmla="*/ 4449436 h 6685267"/>
                <a:gd name="connsiteX38" fmla="*/ 515911 w 5822102"/>
                <a:gd name="connsiteY38" fmla="*/ 4576711 h 6685267"/>
                <a:gd name="connsiteX39" fmla="*/ 722619 w 5822102"/>
                <a:gd name="connsiteY39" fmla="*/ 4828482 h 6685267"/>
                <a:gd name="connsiteX40" fmla="*/ 825972 w 5822102"/>
                <a:gd name="connsiteY40" fmla="*/ 4956104 h 6685267"/>
                <a:gd name="connsiteX41" fmla="*/ 926506 w 5822102"/>
                <a:gd name="connsiteY41" fmla="*/ 5085347 h 6685267"/>
                <a:gd name="connsiteX42" fmla="*/ 1027040 w 5822102"/>
                <a:gd name="connsiteY42" fmla="*/ 5210191 h 6685267"/>
                <a:gd name="connsiteX43" fmla="*/ 1132110 w 5822102"/>
                <a:gd name="connsiteY43" fmla="*/ 5330748 h 6685267"/>
                <a:gd name="connsiteX44" fmla="*/ 1354880 w 5822102"/>
                <a:gd name="connsiteY44" fmla="*/ 5558083 h 6685267"/>
                <a:gd name="connsiteX45" fmla="*/ 1855220 w 5822102"/>
                <a:gd name="connsiteY45" fmla="*/ 5937591 h 6685267"/>
                <a:gd name="connsiteX46" fmla="*/ 2131810 w 5822102"/>
                <a:gd name="connsiteY46" fmla="*/ 6080268 h 6685267"/>
                <a:gd name="connsiteX47" fmla="*/ 2423726 w 5822102"/>
                <a:gd name="connsiteY47" fmla="*/ 6188087 h 6685267"/>
                <a:gd name="connsiteX48" fmla="*/ 2727780 w 5822102"/>
                <a:gd name="connsiteY48" fmla="*/ 6262552 h 6685267"/>
                <a:gd name="connsiteX49" fmla="*/ 3041276 w 5822102"/>
                <a:gd name="connsiteY49" fmla="*/ 6304245 h 6685267"/>
                <a:gd name="connsiteX50" fmla="*/ 3360532 w 5822102"/>
                <a:gd name="connsiteY50" fmla="*/ 6317331 h 6685267"/>
                <a:gd name="connsiteX51" fmla="*/ 3439855 w 5822102"/>
                <a:gd name="connsiteY51" fmla="*/ 6316751 h 6685267"/>
                <a:gd name="connsiteX52" fmla="*/ 3478721 w 5822102"/>
                <a:gd name="connsiteY52" fmla="*/ 6315826 h 6685267"/>
                <a:gd name="connsiteX53" fmla="*/ 3517463 w 5822102"/>
                <a:gd name="connsiteY53" fmla="*/ 6313971 h 6685267"/>
                <a:gd name="connsiteX54" fmla="*/ 3671452 w 5822102"/>
                <a:gd name="connsiteY54" fmla="*/ 6301233 h 6685267"/>
                <a:gd name="connsiteX55" fmla="*/ 4265460 w 5822102"/>
                <a:gd name="connsiteY55" fmla="*/ 6149638 h 6685267"/>
                <a:gd name="connsiteX56" fmla="*/ 4546587 w 5822102"/>
                <a:gd name="connsiteY56" fmla="*/ 6018079 h 6685267"/>
                <a:gd name="connsiteX57" fmla="*/ 4818030 w 5822102"/>
                <a:gd name="connsiteY57" fmla="*/ 5858029 h 6685267"/>
                <a:gd name="connsiteX58" fmla="*/ 5081870 w 5822102"/>
                <a:gd name="connsiteY58" fmla="*/ 5676903 h 6685267"/>
                <a:gd name="connsiteX59" fmla="*/ 5212073 w 5822102"/>
                <a:gd name="connsiteY59" fmla="*/ 5581013 h 6685267"/>
                <a:gd name="connsiteX60" fmla="*/ 5343625 w 5822102"/>
                <a:gd name="connsiteY60" fmla="*/ 5481533 h 6685267"/>
                <a:gd name="connsiteX61" fmla="*/ 5610378 w 5822102"/>
                <a:gd name="connsiteY61" fmla="*/ 5284425 h 6685267"/>
                <a:gd name="connsiteX62" fmla="*/ 5822102 w 5822102"/>
                <a:gd name="connsiteY62" fmla="*/ 5126414 h 6685267"/>
                <a:gd name="connsiteX63" fmla="*/ 5822102 w 5822102"/>
                <a:gd name="connsiteY63" fmla="*/ 5556641 h 6685267"/>
                <a:gd name="connsiteX64" fmla="*/ 5576325 w 5822102"/>
                <a:gd name="connsiteY64" fmla="*/ 5749979 h 6685267"/>
                <a:gd name="connsiteX65" fmla="*/ 5447715 w 5822102"/>
                <a:gd name="connsiteY65" fmla="*/ 5852818 h 6685267"/>
                <a:gd name="connsiteX66" fmla="*/ 5315059 w 5822102"/>
                <a:gd name="connsiteY66" fmla="*/ 5956236 h 6685267"/>
                <a:gd name="connsiteX67" fmla="*/ 5038468 w 5822102"/>
                <a:gd name="connsiteY67" fmla="*/ 6155776 h 6685267"/>
                <a:gd name="connsiteX68" fmla="*/ 4741892 w 5822102"/>
                <a:gd name="connsiteY68" fmla="*/ 6338292 h 6685267"/>
                <a:gd name="connsiteX69" fmla="*/ 4420920 w 5822102"/>
                <a:gd name="connsiteY69" fmla="*/ 6492203 h 6685267"/>
                <a:gd name="connsiteX70" fmla="*/ 3717672 w 5822102"/>
                <a:gd name="connsiteY70" fmla="*/ 6670434 h 6685267"/>
                <a:gd name="connsiteX71" fmla="*/ 3535853 w 5822102"/>
                <a:gd name="connsiteY71" fmla="*/ 6683289 h 6685267"/>
                <a:gd name="connsiteX72" fmla="*/ 3490367 w 5822102"/>
                <a:gd name="connsiteY72" fmla="*/ 6684910 h 6685267"/>
                <a:gd name="connsiteX73" fmla="*/ 3445005 w 5822102"/>
                <a:gd name="connsiteY73" fmla="*/ 6685142 h 6685267"/>
                <a:gd name="connsiteX74" fmla="*/ 3355872 w 5822102"/>
                <a:gd name="connsiteY74" fmla="*/ 6684100 h 6685267"/>
                <a:gd name="connsiteX75" fmla="*/ 3179203 w 5822102"/>
                <a:gd name="connsiteY75" fmla="*/ 6677150 h 6685267"/>
                <a:gd name="connsiteX76" fmla="*/ 3002410 w 5822102"/>
                <a:gd name="connsiteY76" fmla="*/ 6661169 h 6685267"/>
                <a:gd name="connsiteX77" fmla="*/ 2650296 w 5822102"/>
                <a:gd name="connsiteY77" fmla="*/ 6604191 h 6685267"/>
                <a:gd name="connsiteX78" fmla="*/ 2306028 w 5822102"/>
                <a:gd name="connsiteY78" fmla="*/ 6505869 h 6685267"/>
                <a:gd name="connsiteX79" fmla="*/ 1978803 w 5822102"/>
                <a:gd name="connsiteY79" fmla="*/ 6363307 h 6685267"/>
                <a:gd name="connsiteX80" fmla="*/ 1678428 w 5822102"/>
                <a:gd name="connsiteY80" fmla="*/ 6177779 h 6685267"/>
                <a:gd name="connsiteX81" fmla="*/ 1175880 w 5822102"/>
                <a:gd name="connsiteY81" fmla="*/ 5710373 h 6685267"/>
                <a:gd name="connsiteX82" fmla="*/ 971502 w 5822102"/>
                <a:gd name="connsiteY82" fmla="*/ 5445399 h 6685267"/>
                <a:gd name="connsiteX83" fmla="*/ 790909 w 5822102"/>
                <a:gd name="connsiteY83" fmla="*/ 5169078 h 6685267"/>
                <a:gd name="connsiteX84" fmla="*/ 706680 w 5822102"/>
                <a:gd name="connsiteY84" fmla="*/ 5031959 h 6685267"/>
                <a:gd name="connsiteX85" fmla="*/ 619143 w 5822102"/>
                <a:gd name="connsiteY85" fmla="*/ 4897157 h 6685267"/>
                <a:gd name="connsiteX86" fmla="*/ 436465 w 5822102"/>
                <a:gd name="connsiteY86" fmla="*/ 4628710 h 6685267"/>
                <a:gd name="connsiteX87" fmla="*/ 347088 w 5822102"/>
                <a:gd name="connsiteY87" fmla="*/ 4492171 h 6685267"/>
                <a:gd name="connsiteX88" fmla="*/ 262001 w 5822102"/>
                <a:gd name="connsiteY88" fmla="*/ 4352619 h 6685267"/>
                <a:gd name="connsiteX89" fmla="*/ 118679 w 5822102"/>
                <a:gd name="connsiteY89" fmla="*/ 4059853 h 6685267"/>
                <a:gd name="connsiteX90" fmla="*/ 28322 w 5822102"/>
                <a:gd name="connsiteY90" fmla="*/ 3749136 h 6685267"/>
                <a:gd name="connsiteX91" fmla="*/ 0 w 5822102"/>
                <a:gd name="connsiteY91" fmla="*/ 3428922 h 6685267"/>
                <a:gd name="connsiteX92" fmla="*/ 253052 w 5822102"/>
                <a:gd name="connsiteY92" fmla="*/ 2174356 h 6685267"/>
                <a:gd name="connsiteX93" fmla="*/ 389141 w 5822102"/>
                <a:gd name="connsiteY93" fmla="*/ 1877652 h 6685267"/>
                <a:gd name="connsiteX94" fmla="*/ 552079 w 5822102"/>
                <a:gd name="connsiteY94" fmla="*/ 1591834 h 6685267"/>
                <a:gd name="connsiteX95" fmla="*/ 954950 w 5822102"/>
                <a:gd name="connsiteY95" fmla="*/ 1061773 h 6685267"/>
                <a:gd name="connsiteX96" fmla="*/ 1192922 w 5822102"/>
                <a:gd name="connsiteY96" fmla="*/ 822626 h 6685267"/>
                <a:gd name="connsiteX97" fmla="*/ 1255939 w 5822102"/>
                <a:gd name="connsiteY97" fmla="*/ 765880 h 6685267"/>
                <a:gd name="connsiteX98" fmla="*/ 1320183 w 5822102"/>
                <a:gd name="connsiteY98" fmla="*/ 710291 h 6685267"/>
                <a:gd name="connsiteX99" fmla="*/ 1452961 w 5822102"/>
                <a:gd name="connsiteY99" fmla="*/ 603514 h 6685267"/>
                <a:gd name="connsiteX100" fmla="*/ 2033360 w 5822102"/>
                <a:gd name="connsiteY100" fmla="*/ 235818 h 6685267"/>
                <a:gd name="connsiteX101" fmla="*/ 2512513 w 5822102"/>
                <a:gd name="connsiteY101" fmla="*/ 30012 h 6685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</a:cxnLst>
              <a:rect l="l" t="t" r="r" b="b"/>
              <a:pathLst>
                <a:path w="5822102" h="6685267">
                  <a:moveTo>
                    <a:pt x="2605444" y="0"/>
                  </a:moveTo>
                  <a:lnTo>
                    <a:pt x="4757391" y="0"/>
                  </a:lnTo>
                  <a:lnTo>
                    <a:pt x="4913680" y="56274"/>
                  </a:lnTo>
                  <a:cubicBezTo>
                    <a:pt x="5074659" y="119278"/>
                    <a:pt x="5229483" y="195083"/>
                    <a:pt x="5376238" y="282027"/>
                  </a:cubicBezTo>
                  <a:cubicBezTo>
                    <a:pt x="5474014" y="340105"/>
                    <a:pt x="5568080" y="403280"/>
                    <a:pt x="5658024" y="471014"/>
                  </a:cubicBezTo>
                  <a:lnTo>
                    <a:pt x="5822102" y="609109"/>
                  </a:lnTo>
                  <a:lnTo>
                    <a:pt x="5822102" y="760697"/>
                  </a:lnTo>
                  <a:lnTo>
                    <a:pt x="5707785" y="666601"/>
                  </a:lnTo>
                  <a:cubicBezTo>
                    <a:pt x="5665273" y="633682"/>
                    <a:pt x="5621749" y="602008"/>
                    <a:pt x="5577306" y="571666"/>
                  </a:cubicBezTo>
                  <a:cubicBezTo>
                    <a:pt x="5487929" y="511562"/>
                    <a:pt x="5395118" y="456089"/>
                    <a:pt x="5298630" y="407449"/>
                  </a:cubicBezTo>
                  <a:cubicBezTo>
                    <a:pt x="5106266" y="309010"/>
                    <a:pt x="4901153" y="235355"/>
                    <a:pt x="4690768" y="184979"/>
                  </a:cubicBezTo>
                  <a:cubicBezTo>
                    <a:pt x="4480382" y="134486"/>
                    <a:pt x="4264724" y="106807"/>
                    <a:pt x="4048577" y="99280"/>
                  </a:cubicBezTo>
                  <a:cubicBezTo>
                    <a:pt x="3832182" y="90709"/>
                    <a:pt x="3617997" y="102290"/>
                    <a:pt x="3405404" y="131937"/>
                  </a:cubicBezTo>
                  <a:cubicBezTo>
                    <a:pt x="3299353" y="147340"/>
                    <a:pt x="3193915" y="166449"/>
                    <a:pt x="3089702" y="190190"/>
                  </a:cubicBezTo>
                  <a:cubicBezTo>
                    <a:pt x="2985491" y="214278"/>
                    <a:pt x="2882137" y="241725"/>
                    <a:pt x="2780132" y="273457"/>
                  </a:cubicBezTo>
                  <a:cubicBezTo>
                    <a:pt x="2678126" y="305073"/>
                    <a:pt x="2577348" y="340510"/>
                    <a:pt x="2478040" y="379654"/>
                  </a:cubicBezTo>
                  <a:cubicBezTo>
                    <a:pt x="2378854" y="418914"/>
                    <a:pt x="2281017" y="461763"/>
                    <a:pt x="2184897" y="507972"/>
                  </a:cubicBezTo>
                  <a:cubicBezTo>
                    <a:pt x="1992657" y="600271"/>
                    <a:pt x="1806791" y="705542"/>
                    <a:pt x="1629141" y="823205"/>
                  </a:cubicBezTo>
                  <a:cubicBezTo>
                    <a:pt x="1584882" y="852736"/>
                    <a:pt x="1540745" y="882731"/>
                    <a:pt x="1497711" y="914000"/>
                  </a:cubicBezTo>
                  <a:cubicBezTo>
                    <a:pt x="1475888" y="929286"/>
                    <a:pt x="1454555" y="945153"/>
                    <a:pt x="1433099" y="960903"/>
                  </a:cubicBezTo>
                  <a:cubicBezTo>
                    <a:pt x="1411521" y="976537"/>
                    <a:pt x="1390311" y="992634"/>
                    <a:pt x="1369346" y="1008963"/>
                  </a:cubicBezTo>
                  <a:cubicBezTo>
                    <a:pt x="1285119" y="1074165"/>
                    <a:pt x="1202730" y="1141797"/>
                    <a:pt x="1123406" y="1212905"/>
                  </a:cubicBezTo>
                  <a:cubicBezTo>
                    <a:pt x="964391" y="1354656"/>
                    <a:pt x="816900" y="1509261"/>
                    <a:pt x="684367" y="1675564"/>
                  </a:cubicBezTo>
                  <a:cubicBezTo>
                    <a:pt x="618161" y="1758716"/>
                    <a:pt x="555512" y="1844763"/>
                    <a:pt x="497153" y="1933588"/>
                  </a:cubicBezTo>
                  <a:cubicBezTo>
                    <a:pt x="439775" y="2022877"/>
                    <a:pt x="385584" y="2114367"/>
                    <a:pt x="337770" y="2208983"/>
                  </a:cubicBezTo>
                  <a:cubicBezTo>
                    <a:pt x="325388" y="2232493"/>
                    <a:pt x="313862" y="2256349"/>
                    <a:pt x="302461" y="2280207"/>
                  </a:cubicBezTo>
                  <a:lnTo>
                    <a:pt x="285296" y="2316107"/>
                  </a:lnTo>
                  <a:lnTo>
                    <a:pt x="268991" y="2352355"/>
                  </a:lnTo>
                  <a:cubicBezTo>
                    <a:pt x="258324" y="2376560"/>
                    <a:pt x="247535" y="2400764"/>
                    <a:pt x="237849" y="2425432"/>
                  </a:cubicBezTo>
                  <a:cubicBezTo>
                    <a:pt x="228163" y="2450099"/>
                    <a:pt x="217498" y="2474419"/>
                    <a:pt x="208670" y="2499319"/>
                  </a:cubicBezTo>
                  <a:cubicBezTo>
                    <a:pt x="170909" y="2598219"/>
                    <a:pt x="138908" y="2699206"/>
                    <a:pt x="113775" y="2801929"/>
                  </a:cubicBezTo>
                  <a:cubicBezTo>
                    <a:pt x="62773" y="3006911"/>
                    <a:pt x="36659" y="3217917"/>
                    <a:pt x="36781" y="3428922"/>
                  </a:cubicBezTo>
                  <a:cubicBezTo>
                    <a:pt x="37394" y="3534078"/>
                    <a:pt x="47816" y="3639001"/>
                    <a:pt x="69148" y="3741955"/>
                  </a:cubicBezTo>
                  <a:cubicBezTo>
                    <a:pt x="91585" y="3844679"/>
                    <a:pt x="124074" y="3945202"/>
                    <a:pt x="167966" y="4041323"/>
                  </a:cubicBezTo>
                  <a:cubicBezTo>
                    <a:pt x="178387" y="4065528"/>
                    <a:pt x="190525" y="4089153"/>
                    <a:pt x="202049" y="4112894"/>
                  </a:cubicBezTo>
                  <a:cubicBezTo>
                    <a:pt x="214555" y="4136288"/>
                    <a:pt x="226447" y="4159912"/>
                    <a:pt x="239933" y="4182843"/>
                  </a:cubicBezTo>
                  <a:cubicBezTo>
                    <a:pt x="265680" y="4229167"/>
                    <a:pt x="294368" y="4274101"/>
                    <a:pt x="323916" y="4318456"/>
                  </a:cubicBezTo>
                  <a:cubicBezTo>
                    <a:pt x="353341" y="4362927"/>
                    <a:pt x="384849" y="4406240"/>
                    <a:pt x="416604" y="4449436"/>
                  </a:cubicBezTo>
                  <a:cubicBezTo>
                    <a:pt x="448847" y="4492286"/>
                    <a:pt x="482319" y="4534557"/>
                    <a:pt x="515911" y="4576711"/>
                  </a:cubicBezTo>
                  <a:cubicBezTo>
                    <a:pt x="583219" y="4661137"/>
                    <a:pt x="653594" y="4743825"/>
                    <a:pt x="722619" y="4828482"/>
                  </a:cubicBezTo>
                  <a:cubicBezTo>
                    <a:pt x="757315" y="4870637"/>
                    <a:pt x="791889" y="4913138"/>
                    <a:pt x="825972" y="4956104"/>
                  </a:cubicBezTo>
                  <a:cubicBezTo>
                    <a:pt x="859934" y="4998722"/>
                    <a:pt x="893649" y="5044004"/>
                    <a:pt x="926506" y="5085347"/>
                  </a:cubicBezTo>
                  <a:cubicBezTo>
                    <a:pt x="959119" y="5127734"/>
                    <a:pt x="993324" y="5168847"/>
                    <a:pt x="1027040" y="5210191"/>
                  </a:cubicBezTo>
                  <a:cubicBezTo>
                    <a:pt x="1061737" y="5250840"/>
                    <a:pt x="1096188" y="5291488"/>
                    <a:pt x="1132110" y="5330748"/>
                  </a:cubicBezTo>
                  <a:cubicBezTo>
                    <a:pt x="1203465" y="5409731"/>
                    <a:pt x="1277639" y="5485818"/>
                    <a:pt x="1354880" y="5558083"/>
                  </a:cubicBezTo>
                  <a:cubicBezTo>
                    <a:pt x="1509603" y="5702266"/>
                    <a:pt x="1676588" y="5830930"/>
                    <a:pt x="1855220" y="5937591"/>
                  </a:cubicBezTo>
                  <a:cubicBezTo>
                    <a:pt x="1944720" y="5990632"/>
                    <a:pt x="2036549" y="6039272"/>
                    <a:pt x="2131810" y="6080268"/>
                  </a:cubicBezTo>
                  <a:cubicBezTo>
                    <a:pt x="2226460" y="6122423"/>
                    <a:pt x="2324173" y="6157977"/>
                    <a:pt x="2423726" y="6188087"/>
                  </a:cubicBezTo>
                  <a:cubicBezTo>
                    <a:pt x="2523280" y="6218313"/>
                    <a:pt x="2624794" y="6242749"/>
                    <a:pt x="2727780" y="6262552"/>
                  </a:cubicBezTo>
                  <a:cubicBezTo>
                    <a:pt x="2830890" y="6282008"/>
                    <a:pt x="2935714" y="6295326"/>
                    <a:pt x="3041276" y="6304245"/>
                  </a:cubicBezTo>
                  <a:cubicBezTo>
                    <a:pt x="3146836" y="6313277"/>
                    <a:pt x="3253499" y="6317215"/>
                    <a:pt x="3360532" y="6317331"/>
                  </a:cubicBezTo>
                  <a:cubicBezTo>
                    <a:pt x="3387259" y="6317331"/>
                    <a:pt x="3414354" y="6317794"/>
                    <a:pt x="3439855" y="6316751"/>
                  </a:cubicBezTo>
                  <a:lnTo>
                    <a:pt x="3478721" y="6315826"/>
                  </a:lnTo>
                  <a:lnTo>
                    <a:pt x="3517463" y="6313971"/>
                  </a:lnTo>
                  <a:cubicBezTo>
                    <a:pt x="3569078" y="6311772"/>
                    <a:pt x="3620449" y="6306907"/>
                    <a:pt x="3671452" y="6301233"/>
                  </a:cubicBezTo>
                  <a:cubicBezTo>
                    <a:pt x="3875707" y="6277608"/>
                    <a:pt x="4074445" y="6225841"/>
                    <a:pt x="4265460" y="6149638"/>
                  </a:cubicBezTo>
                  <a:cubicBezTo>
                    <a:pt x="4361212" y="6111884"/>
                    <a:pt x="4454636" y="6067065"/>
                    <a:pt x="4546587" y="6018079"/>
                  </a:cubicBezTo>
                  <a:cubicBezTo>
                    <a:pt x="4638662" y="5969322"/>
                    <a:pt x="4729020" y="5915240"/>
                    <a:pt x="4818030" y="5858029"/>
                  </a:cubicBezTo>
                  <a:cubicBezTo>
                    <a:pt x="4907038" y="5800703"/>
                    <a:pt x="4994577" y="5739672"/>
                    <a:pt x="5081870" y="5676903"/>
                  </a:cubicBezTo>
                  <a:cubicBezTo>
                    <a:pt x="5125392" y="5645519"/>
                    <a:pt x="5168794" y="5613324"/>
                    <a:pt x="5212073" y="5581013"/>
                  </a:cubicBezTo>
                  <a:lnTo>
                    <a:pt x="5343625" y="5481533"/>
                  </a:lnTo>
                  <a:cubicBezTo>
                    <a:pt x="5432696" y="5414768"/>
                    <a:pt x="5521951" y="5349452"/>
                    <a:pt x="5610378" y="5284425"/>
                  </a:cubicBezTo>
                  <a:lnTo>
                    <a:pt x="5822102" y="5126414"/>
                  </a:lnTo>
                  <a:lnTo>
                    <a:pt x="5822102" y="5556641"/>
                  </a:lnTo>
                  <a:lnTo>
                    <a:pt x="5576325" y="5749979"/>
                  </a:lnTo>
                  <a:lnTo>
                    <a:pt x="5447715" y="5852818"/>
                  </a:lnTo>
                  <a:cubicBezTo>
                    <a:pt x="5403945" y="5887445"/>
                    <a:pt x="5359932" y="5922073"/>
                    <a:pt x="5315059" y="5956236"/>
                  </a:cubicBezTo>
                  <a:cubicBezTo>
                    <a:pt x="5225682" y="6024680"/>
                    <a:pt x="5133976" y="6091734"/>
                    <a:pt x="5038468" y="6155776"/>
                  </a:cubicBezTo>
                  <a:cubicBezTo>
                    <a:pt x="4943084" y="6219703"/>
                    <a:pt x="4845002" y="6281777"/>
                    <a:pt x="4741892" y="6338292"/>
                  </a:cubicBezTo>
                  <a:cubicBezTo>
                    <a:pt x="4638784" y="6394692"/>
                    <a:pt x="4532120" y="6447038"/>
                    <a:pt x="4420920" y="6492203"/>
                  </a:cubicBezTo>
                  <a:cubicBezTo>
                    <a:pt x="4199255" y="6583693"/>
                    <a:pt x="3959813" y="6644840"/>
                    <a:pt x="3717672" y="6670434"/>
                  </a:cubicBezTo>
                  <a:cubicBezTo>
                    <a:pt x="3657106" y="6676456"/>
                    <a:pt x="3596419" y="6681321"/>
                    <a:pt x="3535853" y="6683289"/>
                  </a:cubicBezTo>
                  <a:lnTo>
                    <a:pt x="3490367" y="6684910"/>
                  </a:lnTo>
                  <a:lnTo>
                    <a:pt x="3445005" y="6685142"/>
                  </a:lnTo>
                  <a:cubicBezTo>
                    <a:pt x="3414354" y="6685605"/>
                    <a:pt x="3385297" y="6684679"/>
                    <a:pt x="3355872" y="6684100"/>
                  </a:cubicBezTo>
                  <a:cubicBezTo>
                    <a:pt x="3297146" y="6683405"/>
                    <a:pt x="3238052" y="6680047"/>
                    <a:pt x="3179203" y="6677150"/>
                  </a:cubicBezTo>
                  <a:cubicBezTo>
                    <a:pt x="3120232" y="6672519"/>
                    <a:pt x="3061259" y="6668233"/>
                    <a:pt x="3002410" y="6661169"/>
                  </a:cubicBezTo>
                  <a:cubicBezTo>
                    <a:pt x="2884589" y="6647851"/>
                    <a:pt x="2766891" y="6629669"/>
                    <a:pt x="2650296" y="6604191"/>
                  </a:cubicBezTo>
                  <a:cubicBezTo>
                    <a:pt x="2533702" y="6578713"/>
                    <a:pt x="2418456" y="6545938"/>
                    <a:pt x="2306028" y="6505869"/>
                  </a:cubicBezTo>
                  <a:cubicBezTo>
                    <a:pt x="2193602" y="6465683"/>
                    <a:pt x="2084118" y="6417738"/>
                    <a:pt x="1978803" y="6363307"/>
                  </a:cubicBezTo>
                  <a:cubicBezTo>
                    <a:pt x="1873855" y="6308066"/>
                    <a:pt x="1773077" y="6246340"/>
                    <a:pt x="1678428" y="6177779"/>
                  </a:cubicBezTo>
                  <a:cubicBezTo>
                    <a:pt x="1488393" y="6041356"/>
                    <a:pt x="1321900" y="5881423"/>
                    <a:pt x="1175880" y="5710373"/>
                  </a:cubicBezTo>
                  <a:cubicBezTo>
                    <a:pt x="1103177" y="5624441"/>
                    <a:pt x="1035501" y="5535732"/>
                    <a:pt x="971502" y="5445399"/>
                  </a:cubicBezTo>
                  <a:cubicBezTo>
                    <a:pt x="907380" y="5355069"/>
                    <a:pt x="847550" y="5262768"/>
                    <a:pt x="790909" y="5169078"/>
                  </a:cubicBezTo>
                  <a:cubicBezTo>
                    <a:pt x="761974" y="5121712"/>
                    <a:pt x="735492" y="5077357"/>
                    <a:pt x="706680" y="5031959"/>
                  </a:cubicBezTo>
                  <a:cubicBezTo>
                    <a:pt x="678114" y="4986910"/>
                    <a:pt x="649058" y="4941860"/>
                    <a:pt x="619143" y="4897157"/>
                  </a:cubicBezTo>
                  <a:lnTo>
                    <a:pt x="436465" y="4628710"/>
                  </a:lnTo>
                  <a:cubicBezTo>
                    <a:pt x="406182" y="4583544"/>
                    <a:pt x="376267" y="4538147"/>
                    <a:pt x="347088" y="4492171"/>
                  </a:cubicBezTo>
                  <a:cubicBezTo>
                    <a:pt x="317908" y="4446194"/>
                    <a:pt x="288974" y="4400102"/>
                    <a:pt x="262001" y="4352619"/>
                  </a:cubicBezTo>
                  <a:cubicBezTo>
                    <a:pt x="207934" y="4258119"/>
                    <a:pt x="158280" y="4160840"/>
                    <a:pt x="118679" y="4059853"/>
                  </a:cubicBezTo>
                  <a:cubicBezTo>
                    <a:pt x="78343" y="3959214"/>
                    <a:pt x="48429" y="3854870"/>
                    <a:pt x="28322" y="3749136"/>
                  </a:cubicBezTo>
                  <a:cubicBezTo>
                    <a:pt x="9073" y="3643402"/>
                    <a:pt x="0" y="3536046"/>
                    <a:pt x="0" y="3428922"/>
                  </a:cubicBezTo>
                  <a:cubicBezTo>
                    <a:pt x="1594" y="3001816"/>
                    <a:pt x="89010" y="2575868"/>
                    <a:pt x="253052" y="2174356"/>
                  </a:cubicBezTo>
                  <a:cubicBezTo>
                    <a:pt x="294246" y="2074066"/>
                    <a:pt x="338873" y="1974700"/>
                    <a:pt x="389141" y="1877652"/>
                  </a:cubicBezTo>
                  <a:cubicBezTo>
                    <a:pt x="438672" y="1780256"/>
                    <a:pt x="493230" y="1684945"/>
                    <a:pt x="552079" y="1591834"/>
                  </a:cubicBezTo>
                  <a:cubicBezTo>
                    <a:pt x="669900" y="1405728"/>
                    <a:pt x="804394" y="1227729"/>
                    <a:pt x="954950" y="1061773"/>
                  </a:cubicBezTo>
                  <a:cubicBezTo>
                    <a:pt x="1030597" y="979085"/>
                    <a:pt x="1109552" y="898829"/>
                    <a:pt x="1192922" y="822626"/>
                  </a:cubicBezTo>
                  <a:cubicBezTo>
                    <a:pt x="1213642" y="803402"/>
                    <a:pt x="1234483" y="784409"/>
                    <a:pt x="1255939" y="765880"/>
                  </a:cubicBezTo>
                  <a:cubicBezTo>
                    <a:pt x="1277273" y="747234"/>
                    <a:pt x="1298237" y="728241"/>
                    <a:pt x="1320183" y="710291"/>
                  </a:cubicBezTo>
                  <a:cubicBezTo>
                    <a:pt x="1363585" y="673811"/>
                    <a:pt x="1408088" y="638489"/>
                    <a:pt x="1452961" y="603514"/>
                  </a:cubicBezTo>
                  <a:cubicBezTo>
                    <a:pt x="1633310" y="464543"/>
                    <a:pt x="1828125" y="341437"/>
                    <a:pt x="2033360" y="235818"/>
                  </a:cubicBezTo>
                  <a:cubicBezTo>
                    <a:pt x="2187242" y="156561"/>
                    <a:pt x="2347554" y="87597"/>
                    <a:pt x="2512513" y="30012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15102EBE-A80F-4CFF-B1DD-941EF9728B5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404998" y="98659"/>
              <a:ext cx="5774333" cy="6315453"/>
            </a:xfrm>
            <a:custGeom>
              <a:avLst/>
              <a:gdLst>
                <a:gd name="connsiteX0" fmla="*/ 3707237 w 5774333"/>
                <a:gd name="connsiteY0" fmla="*/ 1489 h 6315453"/>
                <a:gd name="connsiteX1" fmla="*/ 4037665 w 5774333"/>
                <a:gd name="connsiteY1" fmla="*/ 6121 h 6315453"/>
                <a:gd name="connsiteX2" fmla="*/ 4692239 w 5774333"/>
                <a:gd name="connsiteY2" fmla="*/ 102128 h 6315453"/>
                <a:gd name="connsiteX3" fmla="*/ 5315059 w 5774333"/>
                <a:gd name="connsiteY3" fmla="*/ 324945 h 6315453"/>
                <a:gd name="connsiteX4" fmla="*/ 5738325 w 5774333"/>
                <a:gd name="connsiteY4" fmla="*/ 578286 h 6315453"/>
                <a:gd name="connsiteX5" fmla="*/ 5774333 w 5774333"/>
                <a:gd name="connsiteY5" fmla="*/ 606551 h 6315453"/>
                <a:gd name="connsiteX6" fmla="*/ 5774333 w 5774333"/>
                <a:gd name="connsiteY6" fmla="*/ 975490 h 6315453"/>
                <a:gd name="connsiteX7" fmla="*/ 5676001 w 5774333"/>
                <a:gd name="connsiteY7" fmla="*/ 889749 h 6315453"/>
                <a:gd name="connsiteX8" fmla="*/ 5177132 w 5774333"/>
                <a:gd name="connsiteY8" fmla="*/ 581926 h 6315453"/>
                <a:gd name="connsiteX9" fmla="*/ 4615735 w 5774333"/>
                <a:gd name="connsiteY9" fmla="*/ 388640 h 6315453"/>
                <a:gd name="connsiteX10" fmla="*/ 4020010 w 5774333"/>
                <a:gd name="connsiteY10" fmla="*/ 308500 h 6315453"/>
                <a:gd name="connsiteX11" fmla="*/ 3416315 w 5774333"/>
                <a:gd name="connsiteY11" fmla="*/ 328882 h 6315453"/>
                <a:gd name="connsiteX12" fmla="*/ 2823779 w 5774333"/>
                <a:gd name="connsiteY12" fmla="*/ 446545 h 6315453"/>
                <a:gd name="connsiteX13" fmla="*/ 2256987 w 5774333"/>
                <a:gd name="connsiteY13" fmla="*/ 651296 h 6315453"/>
                <a:gd name="connsiteX14" fmla="*/ 1244169 w 5774333"/>
                <a:gd name="connsiteY14" fmla="*/ 1280374 h 6315453"/>
                <a:gd name="connsiteX15" fmla="*/ 830141 w 5774333"/>
                <a:gd name="connsiteY15" fmla="*/ 1700184 h 6315453"/>
                <a:gd name="connsiteX16" fmla="*/ 502792 w 5774333"/>
                <a:gd name="connsiteY16" fmla="*/ 2182300 h 6315453"/>
                <a:gd name="connsiteX17" fmla="*/ 280637 w 5774333"/>
                <a:gd name="connsiteY17" fmla="*/ 2715256 h 6315453"/>
                <a:gd name="connsiteX18" fmla="*/ 199843 w 5774333"/>
                <a:gd name="connsiteY18" fmla="*/ 3283418 h 6315453"/>
                <a:gd name="connsiteX19" fmla="*/ 233926 w 5774333"/>
                <a:gd name="connsiteY19" fmla="*/ 3561593 h 6315453"/>
                <a:gd name="connsiteX20" fmla="*/ 334582 w 5774333"/>
                <a:gd name="connsiteY20" fmla="*/ 3821816 h 6315453"/>
                <a:gd name="connsiteX21" fmla="*/ 404834 w 5774333"/>
                <a:gd name="connsiteY21" fmla="*/ 3944343 h 6315453"/>
                <a:gd name="connsiteX22" fmla="*/ 485506 w 5774333"/>
                <a:gd name="connsiteY22" fmla="*/ 4062932 h 6315453"/>
                <a:gd name="connsiteX23" fmla="*/ 671861 w 5774333"/>
                <a:gd name="connsiteY23" fmla="*/ 4292120 h 6315453"/>
                <a:gd name="connsiteX24" fmla="*/ 873542 w 5774333"/>
                <a:gd name="connsiteY24" fmla="*/ 4523044 h 6315453"/>
                <a:gd name="connsiteX25" fmla="*/ 973831 w 5774333"/>
                <a:gd name="connsiteY25" fmla="*/ 4643601 h 6315453"/>
                <a:gd name="connsiteX26" fmla="*/ 1022014 w 5774333"/>
                <a:gd name="connsiteY26" fmla="*/ 4702780 h 6315453"/>
                <a:gd name="connsiteX27" fmla="*/ 1069215 w 5774333"/>
                <a:gd name="connsiteY27" fmla="*/ 4759411 h 6315453"/>
                <a:gd name="connsiteX28" fmla="*/ 1474784 w 5774333"/>
                <a:gd name="connsiteY28" fmla="*/ 5177948 h 6315453"/>
                <a:gd name="connsiteX29" fmla="*/ 1690442 w 5774333"/>
                <a:gd name="connsiteY29" fmla="*/ 5366255 h 6315453"/>
                <a:gd name="connsiteX30" fmla="*/ 1916276 w 5774333"/>
                <a:gd name="connsiteY30" fmla="*/ 5539852 h 6315453"/>
                <a:gd name="connsiteX31" fmla="*/ 2420784 w 5774333"/>
                <a:gd name="connsiteY31" fmla="*/ 5814437 h 6315453"/>
                <a:gd name="connsiteX32" fmla="*/ 2703015 w 5774333"/>
                <a:gd name="connsiteY32" fmla="*/ 5892029 h 6315453"/>
                <a:gd name="connsiteX33" fmla="*/ 2775350 w 5774333"/>
                <a:gd name="connsiteY33" fmla="*/ 5905695 h 6315453"/>
                <a:gd name="connsiteX34" fmla="*/ 2848299 w 5774333"/>
                <a:gd name="connsiteY34" fmla="*/ 5917161 h 6315453"/>
                <a:gd name="connsiteX35" fmla="*/ 2995544 w 5774333"/>
                <a:gd name="connsiteY35" fmla="*/ 5933605 h 6315453"/>
                <a:gd name="connsiteX36" fmla="*/ 3069596 w 5774333"/>
                <a:gd name="connsiteY36" fmla="*/ 5938933 h 6315453"/>
                <a:gd name="connsiteX37" fmla="*/ 3143894 w 5774333"/>
                <a:gd name="connsiteY37" fmla="*/ 5942639 h 6315453"/>
                <a:gd name="connsiteX38" fmla="*/ 3218436 w 5774333"/>
                <a:gd name="connsiteY38" fmla="*/ 5944260 h 6315453"/>
                <a:gd name="connsiteX39" fmla="*/ 3293101 w 5774333"/>
                <a:gd name="connsiteY39" fmla="*/ 5943913 h 6315453"/>
                <a:gd name="connsiteX40" fmla="*/ 3330494 w 5774333"/>
                <a:gd name="connsiteY40" fmla="*/ 5943565 h 6315453"/>
                <a:gd name="connsiteX41" fmla="*/ 3366540 w 5774333"/>
                <a:gd name="connsiteY41" fmla="*/ 5942059 h 6315453"/>
                <a:gd name="connsiteX42" fmla="*/ 3402462 w 5774333"/>
                <a:gd name="connsiteY42" fmla="*/ 5940323 h 6315453"/>
                <a:gd name="connsiteX43" fmla="*/ 3438262 w 5774333"/>
                <a:gd name="connsiteY43" fmla="*/ 5937543 h 6315453"/>
                <a:gd name="connsiteX44" fmla="*/ 3580236 w 5774333"/>
                <a:gd name="connsiteY44" fmla="*/ 5920982 h 6315453"/>
                <a:gd name="connsiteX45" fmla="*/ 4121034 w 5774333"/>
                <a:gd name="connsiteY45" fmla="*/ 5753290 h 6315453"/>
                <a:gd name="connsiteX46" fmla="*/ 4620639 w 5774333"/>
                <a:gd name="connsiteY46" fmla="*/ 5459364 h 6315453"/>
                <a:gd name="connsiteX47" fmla="*/ 4741771 w 5774333"/>
                <a:gd name="connsiteY47" fmla="*/ 5372971 h 6315453"/>
                <a:gd name="connsiteX48" fmla="*/ 4862901 w 5774333"/>
                <a:gd name="connsiteY48" fmla="*/ 5283682 h 6315453"/>
                <a:gd name="connsiteX49" fmla="*/ 5108229 w 5774333"/>
                <a:gd name="connsiteY49" fmla="*/ 5098386 h 6315453"/>
                <a:gd name="connsiteX50" fmla="*/ 5612493 w 5774333"/>
                <a:gd name="connsiteY50" fmla="*/ 4739724 h 6315453"/>
                <a:gd name="connsiteX51" fmla="*/ 5774333 w 5774333"/>
                <a:gd name="connsiteY51" fmla="*/ 4623488 h 6315453"/>
                <a:gd name="connsiteX52" fmla="*/ 5774333 w 5774333"/>
                <a:gd name="connsiteY52" fmla="*/ 5232926 h 6315453"/>
                <a:gd name="connsiteX53" fmla="*/ 5676492 w 5774333"/>
                <a:gd name="connsiteY53" fmla="*/ 5306859 h 6315453"/>
                <a:gd name="connsiteX54" fmla="*/ 5426260 w 5774333"/>
                <a:gd name="connsiteY54" fmla="*/ 5486233 h 6315453"/>
                <a:gd name="connsiteX55" fmla="*/ 5300225 w 5774333"/>
                <a:gd name="connsiteY55" fmla="*/ 5576217 h 6315453"/>
                <a:gd name="connsiteX56" fmla="*/ 5170757 w 5774333"/>
                <a:gd name="connsiteY56" fmla="*/ 5666780 h 6315453"/>
                <a:gd name="connsiteX57" fmla="*/ 5038100 w 5774333"/>
                <a:gd name="connsiteY57" fmla="*/ 5756185 h 6315453"/>
                <a:gd name="connsiteX58" fmla="*/ 4901276 w 5774333"/>
                <a:gd name="connsiteY58" fmla="*/ 5843043 h 6315453"/>
                <a:gd name="connsiteX59" fmla="*/ 4614019 w 5774333"/>
                <a:gd name="connsiteY59" fmla="*/ 6006103 h 6315453"/>
                <a:gd name="connsiteX60" fmla="*/ 4305061 w 5774333"/>
                <a:gd name="connsiteY60" fmla="*/ 6144726 h 6315453"/>
                <a:gd name="connsiteX61" fmla="*/ 3632710 w 5774333"/>
                <a:gd name="connsiteY61" fmla="*/ 6304196 h 6315453"/>
                <a:gd name="connsiteX62" fmla="*/ 3459594 w 5774333"/>
                <a:gd name="connsiteY62" fmla="*/ 6314504 h 6315453"/>
                <a:gd name="connsiteX63" fmla="*/ 3416315 w 5774333"/>
                <a:gd name="connsiteY63" fmla="*/ 6315429 h 6315453"/>
                <a:gd name="connsiteX64" fmla="*/ 3373159 w 5774333"/>
                <a:gd name="connsiteY64" fmla="*/ 6315198 h 6315453"/>
                <a:gd name="connsiteX65" fmla="*/ 3330127 w 5774333"/>
                <a:gd name="connsiteY65" fmla="*/ 6314735 h 6315453"/>
                <a:gd name="connsiteX66" fmla="*/ 3288320 w 5774333"/>
                <a:gd name="connsiteY66" fmla="*/ 6313230 h 6315453"/>
                <a:gd name="connsiteX67" fmla="*/ 2954350 w 5774333"/>
                <a:gd name="connsiteY67" fmla="*/ 6288098 h 6315453"/>
                <a:gd name="connsiteX68" fmla="*/ 2622466 w 5774333"/>
                <a:gd name="connsiteY68" fmla="*/ 6232742 h 6315453"/>
                <a:gd name="connsiteX69" fmla="*/ 2296466 w 5774333"/>
                <a:gd name="connsiteY69" fmla="*/ 6146001 h 6315453"/>
                <a:gd name="connsiteX70" fmla="*/ 1672419 w 5774333"/>
                <a:gd name="connsiteY70" fmla="*/ 5885197 h 6315453"/>
                <a:gd name="connsiteX71" fmla="*/ 1146578 w 5774333"/>
                <a:gd name="connsiteY71" fmla="*/ 5479168 h 6315453"/>
                <a:gd name="connsiteX72" fmla="*/ 933372 w 5774333"/>
                <a:gd name="connsiteY72" fmla="*/ 5234810 h 6315453"/>
                <a:gd name="connsiteX73" fmla="*/ 747140 w 5774333"/>
                <a:gd name="connsiteY73" fmla="*/ 4976091 h 6315453"/>
                <a:gd name="connsiteX74" fmla="*/ 703616 w 5774333"/>
                <a:gd name="connsiteY74" fmla="*/ 4910196 h 6315453"/>
                <a:gd name="connsiteX75" fmla="*/ 662053 w 5774333"/>
                <a:gd name="connsiteY75" fmla="*/ 4846269 h 6315453"/>
                <a:gd name="connsiteX76" fmla="*/ 580033 w 5774333"/>
                <a:gd name="connsiteY76" fmla="*/ 4722352 h 6315453"/>
                <a:gd name="connsiteX77" fmla="*/ 410105 w 5774333"/>
                <a:gd name="connsiteY77" fmla="*/ 4469193 h 6315453"/>
                <a:gd name="connsiteX78" fmla="*/ 244224 w 5774333"/>
                <a:gd name="connsiteY78" fmla="*/ 4201556 h 6315453"/>
                <a:gd name="connsiteX79" fmla="*/ 169437 w 5774333"/>
                <a:gd name="connsiteY79" fmla="*/ 4059690 h 6315453"/>
                <a:gd name="connsiteX80" fmla="*/ 105929 w 5774333"/>
                <a:gd name="connsiteY80" fmla="*/ 3911221 h 6315453"/>
                <a:gd name="connsiteX81" fmla="*/ 57256 w 5774333"/>
                <a:gd name="connsiteY81" fmla="*/ 3757195 h 6315453"/>
                <a:gd name="connsiteX82" fmla="*/ 39111 w 5774333"/>
                <a:gd name="connsiteY82" fmla="*/ 3678677 h 6315453"/>
                <a:gd name="connsiteX83" fmla="*/ 31142 w 5774333"/>
                <a:gd name="connsiteY83" fmla="*/ 3639300 h 6315453"/>
                <a:gd name="connsiteX84" fmla="*/ 24521 w 5774333"/>
                <a:gd name="connsiteY84" fmla="*/ 3599809 h 6315453"/>
                <a:gd name="connsiteX85" fmla="*/ 0 w 5774333"/>
                <a:gd name="connsiteY85" fmla="*/ 3283418 h 6315453"/>
                <a:gd name="connsiteX86" fmla="*/ 68045 w 5774333"/>
                <a:gd name="connsiteY86" fmla="*/ 2666963 h 6315453"/>
                <a:gd name="connsiteX87" fmla="*/ 272546 w 5774333"/>
                <a:gd name="connsiteY87" fmla="*/ 2076334 h 6315453"/>
                <a:gd name="connsiteX88" fmla="*/ 1039300 w 5774333"/>
                <a:gd name="connsiteY88" fmla="*/ 1073307 h 6315453"/>
                <a:gd name="connsiteX89" fmla="*/ 1547733 w 5774333"/>
                <a:gd name="connsiteY89" fmla="*/ 680365 h 6315453"/>
                <a:gd name="connsiteX90" fmla="*/ 2115995 w 5774333"/>
                <a:gd name="connsiteY90" fmla="*/ 368373 h 6315453"/>
                <a:gd name="connsiteX91" fmla="*/ 3377451 w 5774333"/>
                <a:gd name="connsiteY91" fmla="*/ 24304 h 6315453"/>
                <a:gd name="connsiteX92" fmla="*/ 3707237 w 5774333"/>
                <a:gd name="connsiteY92" fmla="*/ 1489 h 6315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5774333" h="6315453">
                  <a:moveTo>
                    <a:pt x="3707237" y="1489"/>
                  </a:moveTo>
                  <a:cubicBezTo>
                    <a:pt x="3817502" y="-1522"/>
                    <a:pt x="3927875" y="41"/>
                    <a:pt x="4037665" y="6121"/>
                  </a:cubicBezTo>
                  <a:cubicBezTo>
                    <a:pt x="4257614" y="18745"/>
                    <a:pt x="4477439" y="49665"/>
                    <a:pt x="4692239" y="102128"/>
                  </a:cubicBezTo>
                  <a:cubicBezTo>
                    <a:pt x="4907039" y="154474"/>
                    <a:pt x="5116811" y="228592"/>
                    <a:pt x="5315059" y="324945"/>
                  </a:cubicBezTo>
                  <a:cubicBezTo>
                    <a:pt x="5463562" y="397211"/>
                    <a:pt x="5606133" y="481527"/>
                    <a:pt x="5738325" y="578286"/>
                  </a:cubicBezTo>
                  <a:lnTo>
                    <a:pt x="5774333" y="606551"/>
                  </a:lnTo>
                  <a:lnTo>
                    <a:pt x="5774333" y="975490"/>
                  </a:lnTo>
                  <a:lnTo>
                    <a:pt x="5676001" y="889749"/>
                  </a:lnTo>
                  <a:cubicBezTo>
                    <a:pt x="5522381" y="769886"/>
                    <a:pt x="5355519" y="665657"/>
                    <a:pt x="5177132" y="581926"/>
                  </a:cubicBezTo>
                  <a:cubicBezTo>
                    <a:pt x="4998867" y="497965"/>
                    <a:pt x="4810183" y="433574"/>
                    <a:pt x="4615735" y="388640"/>
                  </a:cubicBezTo>
                  <a:cubicBezTo>
                    <a:pt x="4421289" y="343591"/>
                    <a:pt x="4221446" y="317649"/>
                    <a:pt x="4020010" y="308500"/>
                  </a:cubicBezTo>
                  <a:cubicBezTo>
                    <a:pt x="3818207" y="298887"/>
                    <a:pt x="3616649" y="305257"/>
                    <a:pt x="3416315" y="328882"/>
                  </a:cubicBezTo>
                  <a:cubicBezTo>
                    <a:pt x="3216106" y="352623"/>
                    <a:pt x="3017736" y="392346"/>
                    <a:pt x="2823779" y="446545"/>
                  </a:cubicBezTo>
                  <a:cubicBezTo>
                    <a:pt x="2629699" y="500513"/>
                    <a:pt x="2440401" y="570345"/>
                    <a:pt x="2256987" y="651296"/>
                  </a:cubicBezTo>
                  <a:cubicBezTo>
                    <a:pt x="1889058" y="811461"/>
                    <a:pt x="1545527" y="1023856"/>
                    <a:pt x="1244169" y="1280374"/>
                  </a:cubicBezTo>
                  <a:cubicBezTo>
                    <a:pt x="1093982" y="1409039"/>
                    <a:pt x="954828" y="1549400"/>
                    <a:pt x="830141" y="1700184"/>
                  </a:cubicBezTo>
                  <a:cubicBezTo>
                    <a:pt x="705209" y="1850736"/>
                    <a:pt x="594989" y="2012176"/>
                    <a:pt x="502792" y="2182300"/>
                  </a:cubicBezTo>
                  <a:cubicBezTo>
                    <a:pt x="410595" y="2352308"/>
                    <a:pt x="333847" y="2530307"/>
                    <a:pt x="280637" y="2715256"/>
                  </a:cubicBezTo>
                  <a:cubicBezTo>
                    <a:pt x="227306" y="2899741"/>
                    <a:pt x="199719" y="3091521"/>
                    <a:pt x="199843" y="3283418"/>
                  </a:cubicBezTo>
                  <a:cubicBezTo>
                    <a:pt x="200946" y="3377687"/>
                    <a:pt x="210754" y="3471261"/>
                    <a:pt x="233926" y="3561593"/>
                  </a:cubicBezTo>
                  <a:cubicBezTo>
                    <a:pt x="256730" y="3652040"/>
                    <a:pt x="292162" y="3738550"/>
                    <a:pt x="334582" y="3821816"/>
                  </a:cubicBezTo>
                  <a:cubicBezTo>
                    <a:pt x="356038" y="3863392"/>
                    <a:pt x="379823" y="3904157"/>
                    <a:pt x="404834" y="3944343"/>
                  </a:cubicBezTo>
                  <a:cubicBezTo>
                    <a:pt x="430212" y="3984413"/>
                    <a:pt x="457308" y="4023905"/>
                    <a:pt x="485506" y="4062932"/>
                  </a:cubicBezTo>
                  <a:cubicBezTo>
                    <a:pt x="542639" y="4140757"/>
                    <a:pt x="606146" y="4216265"/>
                    <a:pt x="671861" y="4292120"/>
                  </a:cubicBezTo>
                  <a:cubicBezTo>
                    <a:pt x="737576" y="4368091"/>
                    <a:pt x="806234" y="4444062"/>
                    <a:pt x="873542" y="4523044"/>
                  </a:cubicBezTo>
                  <a:cubicBezTo>
                    <a:pt x="907258" y="4562419"/>
                    <a:pt x="940606" y="4602721"/>
                    <a:pt x="973831" y="4643601"/>
                  </a:cubicBezTo>
                  <a:lnTo>
                    <a:pt x="1022014" y="4702780"/>
                  </a:lnTo>
                  <a:cubicBezTo>
                    <a:pt x="1037829" y="4721658"/>
                    <a:pt x="1052910" y="4740998"/>
                    <a:pt x="1069215" y="4759411"/>
                  </a:cubicBezTo>
                  <a:cubicBezTo>
                    <a:pt x="1196477" y="4909269"/>
                    <a:pt x="1334527" y="5047199"/>
                    <a:pt x="1474784" y="5177948"/>
                  </a:cubicBezTo>
                  <a:cubicBezTo>
                    <a:pt x="1545281" y="5243033"/>
                    <a:pt x="1617003" y="5305917"/>
                    <a:pt x="1690442" y="5366255"/>
                  </a:cubicBezTo>
                  <a:cubicBezTo>
                    <a:pt x="1763881" y="5426591"/>
                    <a:pt x="1838668" y="5484959"/>
                    <a:pt x="1916276" y="5539852"/>
                  </a:cubicBezTo>
                  <a:cubicBezTo>
                    <a:pt x="2070877" y="5649872"/>
                    <a:pt x="2237617" y="5748194"/>
                    <a:pt x="2420784" y="5814437"/>
                  </a:cubicBezTo>
                  <a:cubicBezTo>
                    <a:pt x="2512124" y="5847559"/>
                    <a:pt x="2606773" y="5872921"/>
                    <a:pt x="2703015" y="5892029"/>
                  </a:cubicBezTo>
                  <a:cubicBezTo>
                    <a:pt x="2727168" y="5896546"/>
                    <a:pt x="2751075" y="5901758"/>
                    <a:pt x="2775350" y="5905695"/>
                  </a:cubicBezTo>
                  <a:lnTo>
                    <a:pt x="2848299" y="5917161"/>
                  </a:lnTo>
                  <a:cubicBezTo>
                    <a:pt x="2897218" y="5923298"/>
                    <a:pt x="2946136" y="5929784"/>
                    <a:pt x="2995544" y="5933605"/>
                  </a:cubicBezTo>
                  <a:cubicBezTo>
                    <a:pt x="3020188" y="5935806"/>
                    <a:pt x="3044831" y="5937891"/>
                    <a:pt x="3069596" y="5938933"/>
                  </a:cubicBezTo>
                  <a:cubicBezTo>
                    <a:pt x="3094362" y="5940090"/>
                    <a:pt x="3119005" y="5941943"/>
                    <a:pt x="3143894" y="5942639"/>
                  </a:cubicBezTo>
                  <a:lnTo>
                    <a:pt x="3218436" y="5944260"/>
                  </a:lnTo>
                  <a:cubicBezTo>
                    <a:pt x="3243201" y="5944838"/>
                    <a:pt x="3268212" y="5944029"/>
                    <a:pt x="3293101" y="5943913"/>
                  </a:cubicBezTo>
                  <a:lnTo>
                    <a:pt x="3330494" y="5943565"/>
                  </a:lnTo>
                  <a:cubicBezTo>
                    <a:pt x="3342632" y="5943218"/>
                    <a:pt x="3354524" y="5942523"/>
                    <a:pt x="3366540" y="5942059"/>
                  </a:cubicBezTo>
                  <a:cubicBezTo>
                    <a:pt x="3378554" y="5941480"/>
                    <a:pt x="3390570" y="5941134"/>
                    <a:pt x="3402462" y="5940323"/>
                  </a:cubicBezTo>
                  <a:lnTo>
                    <a:pt x="3438262" y="5937543"/>
                  </a:lnTo>
                  <a:cubicBezTo>
                    <a:pt x="3485954" y="5933953"/>
                    <a:pt x="3533279" y="5927931"/>
                    <a:pt x="3580236" y="5920982"/>
                  </a:cubicBezTo>
                  <a:cubicBezTo>
                    <a:pt x="3768185" y="5891567"/>
                    <a:pt x="3948901" y="5834010"/>
                    <a:pt x="4121034" y="5753290"/>
                  </a:cubicBezTo>
                  <a:cubicBezTo>
                    <a:pt x="4293782" y="5673497"/>
                    <a:pt x="4458191" y="5571353"/>
                    <a:pt x="4620639" y="5459364"/>
                  </a:cubicBezTo>
                  <a:cubicBezTo>
                    <a:pt x="4661221" y="5431455"/>
                    <a:pt x="4701557" y="5402271"/>
                    <a:pt x="4741771" y="5372971"/>
                  </a:cubicBezTo>
                  <a:cubicBezTo>
                    <a:pt x="4782230" y="5343672"/>
                    <a:pt x="4822566" y="5313908"/>
                    <a:pt x="4862901" y="5283682"/>
                  </a:cubicBezTo>
                  <a:lnTo>
                    <a:pt x="5108229" y="5098386"/>
                  </a:lnTo>
                  <a:cubicBezTo>
                    <a:pt x="5276563" y="4972270"/>
                    <a:pt x="5446489" y="4854838"/>
                    <a:pt x="5612493" y="4739724"/>
                  </a:cubicBezTo>
                  <a:lnTo>
                    <a:pt x="5774333" y="4623488"/>
                  </a:lnTo>
                  <a:lnTo>
                    <a:pt x="5774333" y="5232926"/>
                  </a:lnTo>
                  <a:lnTo>
                    <a:pt x="5676492" y="5306859"/>
                  </a:lnTo>
                  <a:cubicBezTo>
                    <a:pt x="5592693" y="5367905"/>
                    <a:pt x="5508955" y="5427286"/>
                    <a:pt x="5426260" y="5486233"/>
                  </a:cubicBezTo>
                  <a:lnTo>
                    <a:pt x="5300225" y="5576217"/>
                  </a:lnTo>
                  <a:cubicBezTo>
                    <a:pt x="5257559" y="5606443"/>
                    <a:pt x="5214525" y="5636901"/>
                    <a:pt x="5170757" y="5666780"/>
                  </a:cubicBezTo>
                  <a:cubicBezTo>
                    <a:pt x="5127110" y="5696775"/>
                    <a:pt x="5082973" y="5726654"/>
                    <a:pt x="5038100" y="5756185"/>
                  </a:cubicBezTo>
                  <a:cubicBezTo>
                    <a:pt x="4993106" y="5785486"/>
                    <a:pt x="4947743" y="5814553"/>
                    <a:pt x="4901276" y="5843043"/>
                  </a:cubicBezTo>
                  <a:cubicBezTo>
                    <a:pt x="4808835" y="5900136"/>
                    <a:pt x="4713449" y="5955494"/>
                    <a:pt x="4614019" y="6006103"/>
                  </a:cubicBezTo>
                  <a:cubicBezTo>
                    <a:pt x="4514711" y="6056943"/>
                    <a:pt x="4411971" y="6104192"/>
                    <a:pt x="4305061" y="6144726"/>
                  </a:cubicBezTo>
                  <a:cubicBezTo>
                    <a:pt x="4092223" y="6226952"/>
                    <a:pt x="3863569" y="6282424"/>
                    <a:pt x="3632710" y="6304196"/>
                  </a:cubicBezTo>
                  <a:cubicBezTo>
                    <a:pt x="3574964" y="6309408"/>
                    <a:pt x="3517218" y="6313345"/>
                    <a:pt x="3459594" y="6314504"/>
                  </a:cubicBezTo>
                  <a:lnTo>
                    <a:pt x="3416315" y="6315429"/>
                  </a:lnTo>
                  <a:cubicBezTo>
                    <a:pt x="3401971" y="6315546"/>
                    <a:pt x="3387505" y="6315198"/>
                    <a:pt x="3373159" y="6315198"/>
                  </a:cubicBezTo>
                  <a:lnTo>
                    <a:pt x="3330127" y="6314735"/>
                  </a:lnTo>
                  <a:lnTo>
                    <a:pt x="3288320" y="6313230"/>
                  </a:lnTo>
                  <a:cubicBezTo>
                    <a:pt x="3176996" y="6309870"/>
                    <a:pt x="3065428" y="6301533"/>
                    <a:pt x="2954350" y="6288098"/>
                  </a:cubicBezTo>
                  <a:cubicBezTo>
                    <a:pt x="2843150" y="6275360"/>
                    <a:pt x="2732194" y="6257061"/>
                    <a:pt x="2622466" y="6232742"/>
                  </a:cubicBezTo>
                  <a:cubicBezTo>
                    <a:pt x="2512859" y="6208190"/>
                    <a:pt x="2404110" y="6179122"/>
                    <a:pt x="2296466" y="6146001"/>
                  </a:cubicBezTo>
                  <a:cubicBezTo>
                    <a:pt x="2081544" y="6079179"/>
                    <a:pt x="1869073" y="5996027"/>
                    <a:pt x="1672419" y="5885197"/>
                  </a:cubicBezTo>
                  <a:cubicBezTo>
                    <a:pt x="1475643" y="5774599"/>
                    <a:pt x="1299954" y="5634353"/>
                    <a:pt x="1146578" y="5479168"/>
                  </a:cubicBezTo>
                  <a:cubicBezTo>
                    <a:pt x="1069461" y="5401692"/>
                    <a:pt x="999333" y="5319235"/>
                    <a:pt x="933372" y="5234810"/>
                  </a:cubicBezTo>
                  <a:cubicBezTo>
                    <a:pt x="867781" y="5150038"/>
                    <a:pt x="805375" y="5063991"/>
                    <a:pt x="747140" y="4976091"/>
                  </a:cubicBezTo>
                  <a:cubicBezTo>
                    <a:pt x="732182" y="4954319"/>
                    <a:pt x="718082" y="4932199"/>
                    <a:pt x="703616" y="4910196"/>
                  </a:cubicBezTo>
                  <a:lnTo>
                    <a:pt x="662053" y="4846269"/>
                  </a:lnTo>
                  <a:cubicBezTo>
                    <a:pt x="635449" y="4804925"/>
                    <a:pt x="607864" y="4763928"/>
                    <a:pt x="580033" y="4722352"/>
                  </a:cubicBezTo>
                  <a:lnTo>
                    <a:pt x="410105" y="4469193"/>
                  </a:lnTo>
                  <a:cubicBezTo>
                    <a:pt x="353095" y="4382915"/>
                    <a:pt x="296820" y="4294089"/>
                    <a:pt x="244224" y="4201556"/>
                  </a:cubicBezTo>
                  <a:cubicBezTo>
                    <a:pt x="217987" y="4155232"/>
                    <a:pt x="192609" y="4108098"/>
                    <a:pt x="169437" y="4059690"/>
                  </a:cubicBezTo>
                  <a:cubicBezTo>
                    <a:pt x="146388" y="4011165"/>
                    <a:pt x="124932" y="3961715"/>
                    <a:pt x="105929" y="3911221"/>
                  </a:cubicBezTo>
                  <a:cubicBezTo>
                    <a:pt x="87293" y="3860613"/>
                    <a:pt x="70742" y="3809309"/>
                    <a:pt x="57256" y="3757195"/>
                  </a:cubicBezTo>
                  <a:cubicBezTo>
                    <a:pt x="50881" y="3731138"/>
                    <a:pt x="44383" y="3704965"/>
                    <a:pt x="39111" y="3678677"/>
                  </a:cubicBezTo>
                  <a:lnTo>
                    <a:pt x="31142" y="3639300"/>
                  </a:lnTo>
                  <a:lnTo>
                    <a:pt x="24521" y="3599809"/>
                  </a:lnTo>
                  <a:cubicBezTo>
                    <a:pt x="7234" y="3494423"/>
                    <a:pt x="0" y="3388457"/>
                    <a:pt x="0" y="3283418"/>
                  </a:cubicBezTo>
                  <a:cubicBezTo>
                    <a:pt x="491" y="3076698"/>
                    <a:pt x="23418" y="2869978"/>
                    <a:pt x="68045" y="2666963"/>
                  </a:cubicBezTo>
                  <a:cubicBezTo>
                    <a:pt x="112550" y="2464064"/>
                    <a:pt x="180717" y="2265104"/>
                    <a:pt x="272546" y="2076334"/>
                  </a:cubicBezTo>
                  <a:cubicBezTo>
                    <a:pt x="457062" y="1698794"/>
                    <a:pt x="724457" y="1360978"/>
                    <a:pt x="1039300" y="1073307"/>
                  </a:cubicBezTo>
                  <a:cubicBezTo>
                    <a:pt x="1197090" y="929472"/>
                    <a:pt x="1367630" y="798259"/>
                    <a:pt x="1547733" y="680365"/>
                  </a:cubicBezTo>
                  <a:cubicBezTo>
                    <a:pt x="1728081" y="562587"/>
                    <a:pt x="1917870" y="457663"/>
                    <a:pt x="2115995" y="368373"/>
                  </a:cubicBezTo>
                  <a:cubicBezTo>
                    <a:pt x="2512737" y="191070"/>
                    <a:pt x="2939883" y="73870"/>
                    <a:pt x="3377451" y="24304"/>
                  </a:cubicBezTo>
                  <a:cubicBezTo>
                    <a:pt x="3486812" y="12086"/>
                    <a:pt x="3596971" y="4500"/>
                    <a:pt x="3707237" y="1489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C18CE1F-9DF1-47AF-9E66-6CE348AC233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410220" y="131729"/>
              <a:ext cx="5769111" cy="6229400"/>
            </a:xfrm>
            <a:custGeom>
              <a:avLst/>
              <a:gdLst>
                <a:gd name="connsiteX0" fmla="*/ 3882695 w 5769111"/>
                <a:gd name="connsiteY0" fmla="*/ 0 h 6229400"/>
                <a:gd name="connsiteX1" fmla="*/ 5691883 w 5769111"/>
                <a:gd name="connsiteY1" fmla="*/ 557381 h 6229400"/>
                <a:gd name="connsiteX2" fmla="*/ 5769111 w 5769111"/>
                <a:gd name="connsiteY2" fmla="*/ 620523 h 6229400"/>
                <a:gd name="connsiteX3" fmla="*/ 5769111 w 5769111"/>
                <a:gd name="connsiteY3" fmla="*/ 1464911 h 6229400"/>
                <a:gd name="connsiteX4" fmla="*/ 5660063 w 5769111"/>
                <a:gd name="connsiteY4" fmla="*/ 1328105 h 6229400"/>
                <a:gd name="connsiteX5" fmla="*/ 4910471 w 5769111"/>
                <a:gd name="connsiteY5" fmla="*/ 781599 h 6229400"/>
                <a:gd name="connsiteX6" fmla="*/ 3882695 w 5769111"/>
                <a:gd name="connsiteY6" fmla="*/ 579048 h 6229400"/>
                <a:gd name="connsiteX7" fmla="*/ 2683153 w 5769111"/>
                <a:gd name="connsiteY7" fmla="*/ 797003 h 6229400"/>
                <a:gd name="connsiteX8" fmla="*/ 1617493 w 5769111"/>
                <a:gd name="connsiteY8" fmla="*/ 1395738 h 6229400"/>
                <a:gd name="connsiteX9" fmla="*/ 880408 w 5769111"/>
                <a:gd name="connsiteY9" fmla="*/ 2259099 h 6229400"/>
                <a:gd name="connsiteX10" fmla="*/ 613135 w 5769111"/>
                <a:gd name="connsiteY10" fmla="*/ 3263863 h 6229400"/>
                <a:gd name="connsiteX11" fmla="*/ 1055484 w 5769111"/>
                <a:gd name="connsiteY11" fmla="*/ 4196825 h 6229400"/>
                <a:gd name="connsiteX12" fmla="*/ 1278376 w 5769111"/>
                <a:gd name="connsiteY12" fmla="*/ 4492950 h 6229400"/>
                <a:gd name="connsiteX13" fmla="*/ 3369851 w 5769111"/>
                <a:gd name="connsiteY13" fmla="*/ 5650468 h 6229400"/>
                <a:gd name="connsiteX14" fmla="*/ 4957551 w 5769111"/>
                <a:gd name="connsiteY14" fmla="*/ 4938355 h 6229400"/>
                <a:gd name="connsiteX15" fmla="*/ 5150773 w 5769111"/>
                <a:gd name="connsiteY15" fmla="*/ 4796950 h 6229400"/>
                <a:gd name="connsiteX16" fmla="*/ 5747247 w 5769111"/>
                <a:gd name="connsiteY16" fmla="*/ 4338176 h 6229400"/>
                <a:gd name="connsiteX17" fmla="*/ 5769111 w 5769111"/>
                <a:gd name="connsiteY17" fmla="*/ 4318497 h 6229400"/>
                <a:gd name="connsiteX18" fmla="*/ 5769111 w 5769111"/>
                <a:gd name="connsiteY18" fmla="*/ 5074612 h 6229400"/>
                <a:gd name="connsiteX19" fmla="*/ 5636252 w 5769111"/>
                <a:gd name="connsiteY19" fmla="*/ 5174208 h 6229400"/>
                <a:gd name="connsiteX20" fmla="*/ 5334922 w 5769111"/>
                <a:gd name="connsiteY20" fmla="*/ 5394528 h 6229400"/>
                <a:gd name="connsiteX21" fmla="*/ 3369727 w 5769111"/>
                <a:gd name="connsiteY21" fmla="*/ 6229400 h 6229400"/>
                <a:gd name="connsiteX22" fmla="*/ 771046 w 5769111"/>
                <a:gd name="connsiteY22" fmla="*/ 4817913 h 6229400"/>
                <a:gd name="connsiteX23" fmla="*/ 0 w 5769111"/>
                <a:gd name="connsiteY23" fmla="*/ 3263748 h 6229400"/>
                <a:gd name="connsiteX24" fmla="*/ 3882695 w 5769111"/>
                <a:gd name="connsiteY24" fmla="*/ 0 h 622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5769111" h="6229400">
                  <a:moveTo>
                    <a:pt x="3882695" y="0"/>
                  </a:moveTo>
                  <a:cubicBezTo>
                    <a:pt x="4601253" y="0"/>
                    <a:pt x="5210727" y="205477"/>
                    <a:pt x="5691883" y="557381"/>
                  </a:cubicBezTo>
                  <a:lnTo>
                    <a:pt x="5769111" y="620523"/>
                  </a:lnTo>
                  <a:lnTo>
                    <a:pt x="5769111" y="1464911"/>
                  </a:lnTo>
                  <a:lnTo>
                    <a:pt x="5660063" y="1328105"/>
                  </a:lnTo>
                  <a:cubicBezTo>
                    <a:pt x="5449800" y="1091506"/>
                    <a:pt x="5197607" y="907600"/>
                    <a:pt x="4910471" y="781599"/>
                  </a:cubicBezTo>
                  <a:cubicBezTo>
                    <a:pt x="4604088" y="647260"/>
                    <a:pt x="4258349" y="579048"/>
                    <a:pt x="3882695" y="579048"/>
                  </a:cubicBezTo>
                  <a:cubicBezTo>
                    <a:pt x="3484238" y="579048"/>
                    <a:pt x="3080631" y="652240"/>
                    <a:pt x="2683153" y="797003"/>
                  </a:cubicBezTo>
                  <a:cubicBezTo>
                    <a:pt x="2296098" y="937595"/>
                    <a:pt x="1927678" y="1144662"/>
                    <a:pt x="1617493" y="1395738"/>
                  </a:cubicBezTo>
                  <a:cubicBezTo>
                    <a:pt x="1301915" y="1651098"/>
                    <a:pt x="1053890" y="1941665"/>
                    <a:pt x="880408" y="2259099"/>
                  </a:cubicBezTo>
                  <a:cubicBezTo>
                    <a:pt x="703125" y="2583597"/>
                    <a:pt x="613135" y="2921645"/>
                    <a:pt x="613135" y="3263863"/>
                  </a:cubicBezTo>
                  <a:cubicBezTo>
                    <a:pt x="613135" y="3608512"/>
                    <a:pt x="756702" y="3809789"/>
                    <a:pt x="1055484" y="4196825"/>
                  </a:cubicBezTo>
                  <a:cubicBezTo>
                    <a:pt x="1127574" y="4290167"/>
                    <a:pt x="1202116" y="4386753"/>
                    <a:pt x="1278376" y="4492950"/>
                  </a:cubicBezTo>
                  <a:cubicBezTo>
                    <a:pt x="1861105" y="5304313"/>
                    <a:pt x="2486623" y="5650468"/>
                    <a:pt x="3369851" y="5650468"/>
                  </a:cubicBezTo>
                  <a:cubicBezTo>
                    <a:pt x="3949515" y="5650468"/>
                    <a:pt x="4374822" y="5368471"/>
                    <a:pt x="4957551" y="4938355"/>
                  </a:cubicBezTo>
                  <a:cubicBezTo>
                    <a:pt x="5022653" y="4890293"/>
                    <a:pt x="5087755" y="4842811"/>
                    <a:pt x="5150773" y="4796950"/>
                  </a:cubicBezTo>
                  <a:cubicBezTo>
                    <a:pt x="5364254" y="4641404"/>
                    <a:pt x="5570313" y="4491241"/>
                    <a:pt x="5747247" y="4338176"/>
                  </a:cubicBezTo>
                  <a:lnTo>
                    <a:pt x="5769111" y="4318497"/>
                  </a:lnTo>
                  <a:lnTo>
                    <a:pt x="5769111" y="5074612"/>
                  </a:lnTo>
                  <a:lnTo>
                    <a:pt x="5636252" y="5174208"/>
                  </a:lnTo>
                  <a:cubicBezTo>
                    <a:pt x="5537051" y="5246835"/>
                    <a:pt x="5436100" y="5319845"/>
                    <a:pt x="5334922" y="5394528"/>
                  </a:cubicBezTo>
                  <a:cubicBezTo>
                    <a:pt x="4745327" y="5829741"/>
                    <a:pt x="4177309" y="6229400"/>
                    <a:pt x="3369727" y="6229400"/>
                  </a:cubicBezTo>
                  <a:cubicBezTo>
                    <a:pt x="2172147" y="6229400"/>
                    <a:pt x="1394603" y="5686137"/>
                    <a:pt x="771046" y="4817913"/>
                  </a:cubicBezTo>
                  <a:cubicBezTo>
                    <a:pt x="396864" y="4297000"/>
                    <a:pt x="0" y="3939728"/>
                    <a:pt x="0" y="3263748"/>
                  </a:cubicBezTo>
                  <a:cubicBezTo>
                    <a:pt x="0" y="1461170"/>
                    <a:pt x="1955141" y="0"/>
                    <a:pt x="3882695" y="0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BD26A8C-8D1D-41E6-A71E-FE9AC75F3F8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410220" y="131729"/>
              <a:ext cx="5769111" cy="6229400"/>
            </a:xfrm>
            <a:custGeom>
              <a:avLst/>
              <a:gdLst>
                <a:gd name="connsiteX0" fmla="*/ 3882695 w 5769111"/>
                <a:gd name="connsiteY0" fmla="*/ 0 h 6229400"/>
                <a:gd name="connsiteX1" fmla="*/ 5691883 w 5769111"/>
                <a:gd name="connsiteY1" fmla="*/ 557381 h 6229400"/>
                <a:gd name="connsiteX2" fmla="*/ 5769111 w 5769111"/>
                <a:gd name="connsiteY2" fmla="*/ 620523 h 6229400"/>
                <a:gd name="connsiteX3" fmla="*/ 5769111 w 5769111"/>
                <a:gd name="connsiteY3" fmla="*/ 1675390 h 6229400"/>
                <a:gd name="connsiteX4" fmla="*/ 5711488 w 5769111"/>
                <a:gd name="connsiteY4" fmla="*/ 1585205 h 6229400"/>
                <a:gd name="connsiteX5" fmla="*/ 5566027 w 5769111"/>
                <a:gd name="connsiteY5" fmla="*/ 1402571 h 6229400"/>
                <a:gd name="connsiteX6" fmla="*/ 4858734 w 5769111"/>
                <a:gd name="connsiteY6" fmla="*/ 886639 h 6229400"/>
                <a:gd name="connsiteX7" fmla="*/ 3882695 w 5769111"/>
                <a:gd name="connsiteY7" fmla="*/ 694858 h 6229400"/>
                <a:gd name="connsiteX8" fmla="*/ 2727046 w 5769111"/>
                <a:gd name="connsiteY8" fmla="*/ 905053 h 6229400"/>
                <a:gd name="connsiteX9" fmla="*/ 1697186 w 5769111"/>
                <a:gd name="connsiteY9" fmla="*/ 1483638 h 6229400"/>
                <a:gd name="connsiteX10" fmla="*/ 989279 w 5769111"/>
                <a:gd name="connsiteY10" fmla="*/ 2312139 h 6229400"/>
                <a:gd name="connsiteX11" fmla="*/ 735615 w 5769111"/>
                <a:gd name="connsiteY11" fmla="*/ 3263863 h 6229400"/>
                <a:gd name="connsiteX12" fmla="*/ 1154424 w 5769111"/>
                <a:gd name="connsiteY12" fmla="*/ 4128614 h 6229400"/>
                <a:gd name="connsiteX13" fmla="*/ 1379768 w 5769111"/>
                <a:gd name="connsiteY13" fmla="*/ 4427981 h 6229400"/>
                <a:gd name="connsiteX14" fmla="*/ 2239456 w 5769111"/>
                <a:gd name="connsiteY14" fmla="*/ 5256947 h 6229400"/>
                <a:gd name="connsiteX15" fmla="*/ 3369727 w 5769111"/>
                <a:gd name="connsiteY15" fmla="*/ 5534658 h 6229400"/>
                <a:gd name="connsiteX16" fmla="*/ 4096760 w 5769111"/>
                <a:gd name="connsiteY16" fmla="*/ 5357817 h 6229400"/>
                <a:gd name="connsiteX17" fmla="*/ 4881905 w 5769111"/>
                <a:gd name="connsiteY17" fmla="*/ 4847212 h 6229400"/>
                <a:gd name="connsiteX18" fmla="*/ 5075739 w 5769111"/>
                <a:gd name="connsiteY18" fmla="*/ 4705346 h 6229400"/>
                <a:gd name="connsiteX19" fmla="*/ 5759930 w 5769111"/>
                <a:gd name="connsiteY19" fmla="*/ 4166809 h 6229400"/>
                <a:gd name="connsiteX20" fmla="*/ 5769111 w 5769111"/>
                <a:gd name="connsiteY20" fmla="*/ 4157764 h 6229400"/>
                <a:gd name="connsiteX21" fmla="*/ 5769111 w 5769111"/>
                <a:gd name="connsiteY21" fmla="*/ 5074612 h 6229400"/>
                <a:gd name="connsiteX22" fmla="*/ 5636252 w 5769111"/>
                <a:gd name="connsiteY22" fmla="*/ 5174208 h 6229400"/>
                <a:gd name="connsiteX23" fmla="*/ 5334922 w 5769111"/>
                <a:gd name="connsiteY23" fmla="*/ 5394528 h 6229400"/>
                <a:gd name="connsiteX24" fmla="*/ 3369727 w 5769111"/>
                <a:gd name="connsiteY24" fmla="*/ 6229400 h 6229400"/>
                <a:gd name="connsiteX25" fmla="*/ 771046 w 5769111"/>
                <a:gd name="connsiteY25" fmla="*/ 4817913 h 6229400"/>
                <a:gd name="connsiteX26" fmla="*/ 0 w 5769111"/>
                <a:gd name="connsiteY26" fmla="*/ 3263748 h 6229400"/>
                <a:gd name="connsiteX27" fmla="*/ 3882695 w 5769111"/>
                <a:gd name="connsiteY27" fmla="*/ 0 h 622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769111" h="6229400">
                  <a:moveTo>
                    <a:pt x="3882695" y="0"/>
                  </a:moveTo>
                  <a:cubicBezTo>
                    <a:pt x="4601253" y="0"/>
                    <a:pt x="5210727" y="205477"/>
                    <a:pt x="5691883" y="557381"/>
                  </a:cubicBezTo>
                  <a:lnTo>
                    <a:pt x="5769111" y="620523"/>
                  </a:lnTo>
                  <a:lnTo>
                    <a:pt x="5769111" y="1675390"/>
                  </a:lnTo>
                  <a:lnTo>
                    <a:pt x="5711488" y="1585205"/>
                  </a:lnTo>
                  <a:cubicBezTo>
                    <a:pt x="5665942" y="1521390"/>
                    <a:pt x="5617428" y="1460432"/>
                    <a:pt x="5566027" y="1402571"/>
                  </a:cubicBezTo>
                  <a:cubicBezTo>
                    <a:pt x="5367411" y="1179058"/>
                    <a:pt x="5129563" y="1005460"/>
                    <a:pt x="4858734" y="886639"/>
                  </a:cubicBezTo>
                  <a:cubicBezTo>
                    <a:pt x="4568779" y="759363"/>
                    <a:pt x="4240327" y="694858"/>
                    <a:pt x="3882695" y="694858"/>
                  </a:cubicBezTo>
                  <a:cubicBezTo>
                    <a:pt x="3504835" y="694858"/>
                    <a:pt x="3105151" y="767471"/>
                    <a:pt x="2727046" y="905053"/>
                  </a:cubicBezTo>
                  <a:cubicBezTo>
                    <a:pt x="2352985" y="1041013"/>
                    <a:pt x="1996826" y="1241132"/>
                    <a:pt x="1697186" y="1483638"/>
                  </a:cubicBezTo>
                  <a:cubicBezTo>
                    <a:pt x="1397913" y="1725796"/>
                    <a:pt x="1153199" y="2012308"/>
                    <a:pt x="989279" y="2312139"/>
                  </a:cubicBezTo>
                  <a:cubicBezTo>
                    <a:pt x="820946" y="2620077"/>
                    <a:pt x="735615" y="2940290"/>
                    <a:pt x="735615" y="3263863"/>
                  </a:cubicBezTo>
                  <a:cubicBezTo>
                    <a:pt x="735615" y="3573074"/>
                    <a:pt x="863980" y="3752464"/>
                    <a:pt x="1154424" y="4128614"/>
                  </a:cubicBezTo>
                  <a:cubicBezTo>
                    <a:pt x="1227127" y="4222767"/>
                    <a:pt x="1302282" y="4320162"/>
                    <a:pt x="1379768" y="4427981"/>
                  </a:cubicBezTo>
                  <a:cubicBezTo>
                    <a:pt x="1653784" y="4809458"/>
                    <a:pt x="1934912" y="5080685"/>
                    <a:pt x="2239456" y="5256947"/>
                  </a:cubicBezTo>
                  <a:cubicBezTo>
                    <a:pt x="2562268" y="5443863"/>
                    <a:pt x="2932037" y="5534658"/>
                    <a:pt x="3369727" y="5534658"/>
                  </a:cubicBezTo>
                  <a:cubicBezTo>
                    <a:pt x="3618120" y="5534658"/>
                    <a:pt x="3849103" y="5478491"/>
                    <a:pt x="4096760" y="5357817"/>
                  </a:cubicBezTo>
                  <a:cubicBezTo>
                    <a:pt x="4351037" y="5233901"/>
                    <a:pt x="4602740" y="5053238"/>
                    <a:pt x="4881905" y="4847212"/>
                  </a:cubicBezTo>
                  <a:cubicBezTo>
                    <a:pt x="4947375" y="4798920"/>
                    <a:pt x="5012599" y="4751322"/>
                    <a:pt x="5075739" y="4705346"/>
                  </a:cubicBezTo>
                  <a:cubicBezTo>
                    <a:pt x="5327320" y="4521990"/>
                    <a:pt x="5568418" y="4346256"/>
                    <a:pt x="5759930" y="4166809"/>
                  </a:cubicBezTo>
                  <a:lnTo>
                    <a:pt x="5769111" y="4157764"/>
                  </a:lnTo>
                  <a:lnTo>
                    <a:pt x="5769111" y="5074612"/>
                  </a:lnTo>
                  <a:lnTo>
                    <a:pt x="5636252" y="5174208"/>
                  </a:lnTo>
                  <a:cubicBezTo>
                    <a:pt x="5537051" y="5246835"/>
                    <a:pt x="5436100" y="5319845"/>
                    <a:pt x="5334922" y="5394528"/>
                  </a:cubicBezTo>
                  <a:cubicBezTo>
                    <a:pt x="4745327" y="5829741"/>
                    <a:pt x="4177309" y="6229400"/>
                    <a:pt x="3369727" y="6229400"/>
                  </a:cubicBezTo>
                  <a:cubicBezTo>
                    <a:pt x="2172147" y="6229400"/>
                    <a:pt x="1394603" y="5686137"/>
                    <a:pt x="771046" y="4817913"/>
                  </a:cubicBezTo>
                  <a:cubicBezTo>
                    <a:pt x="396864" y="4297000"/>
                    <a:pt x="0" y="3939728"/>
                    <a:pt x="0" y="3263748"/>
                  </a:cubicBezTo>
                  <a:cubicBezTo>
                    <a:pt x="0" y="1461170"/>
                    <a:pt x="1955141" y="0"/>
                    <a:pt x="3882695" y="0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13" name="Graphic 12" descr="Stetoskop">
            <a:extLst>
              <a:ext uri="{FF2B5EF4-FFF2-40B4-BE49-F238E27FC236}">
                <a16:creationId xmlns:a16="http://schemas.microsoft.com/office/drawing/2014/main" id="{7CCA10B3-5B6F-C84F-47F6-4AC36F8BFF8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27077" y="2392947"/>
            <a:ext cx="1699547" cy="1699547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18F2D78A-0026-A71E-8C2D-77B52F22486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1912" y="311647"/>
            <a:ext cx="1930783" cy="1077923"/>
          </a:xfrm>
          <a:prstGeom prst="rect">
            <a:avLst/>
          </a:prstGeom>
        </p:spPr>
      </p:pic>
      <p:sp>
        <p:nvSpPr>
          <p:cNvPr id="7" name="Rectangle 2">
            <a:extLst>
              <a:ext uri="{FF2B5EF4-FFF2-40B4-BE49-F238E27FC236}">
                <a16:creationId xmlns:a16="http://schemas.microsoft.com/office/drawing/2014/main" id="{F6D1C4E4-8AE0-1860-2483-45711ECAF6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70465" y="496872"/>
            <a:ext cx="12712998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cs-CZ" dirty="0"/>
          </a:p>
        </p:txBody>
      </p:sp>
      <p:pic>
        <p:nvPicPr>
          <p:cNvPr id="1025" name="Obrázek 2" descr="Obsah obrázku text, Písmo, symbol, snímek obrazovky&#10;&#10;Popis byl vytvořen automaticky">
            <a:extLst>
              <a:ext uri="{FF2B5EF4-FFF2-40B4-BE49-F238E27FC236}">
                <a16:creationId xmlns:a16="http://schemas.microsoft.com/office/drawing/2014/main" id="{C4D4F067-AE86-B445-B283-9E0E09787A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r:link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9564" y="284413"/>
            <a:ext cx="594044" cy="1077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4">
            <a:extLst>
              <a:ext uri="{FF2B5EF4-FFF2-40B4-BE49-F238E27FC236}">
                <a16:creationId xmlns:a16="http://schemas.microsoft.com/office/drawing/2014/main" id="{265FECC7-D307-A049-DC36-A9502BB7DD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24434" y="456462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cs-CZ" dirty="0"/>
          </a:p>
        </p:txBody>
      </p:sp>
      <p:pic>
        <p:nvPicPr>
          <p:cNvPr id="1027" name="Obrázek 3" descr="Dětský lékař.cz">
            <a:extLst>
              <a:ext uri="{FF2B5EF4-FFF2-40B4-BE49-F238E27FC236}">
                <a16:creationId xmlns:a16="http://schemas.microsoft.com/office/drawing/2014/main" id="{342B73B9-0567-6429-A49F-D2966B9DAA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3965" y="456462"/>
            <a:ext cx="594044" cy="905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ovéPole 1">
            <a:extLst>
              <a:ext uri="{FF2B5EF4-FFF2-40B4-BE49-F238E27FC236}">
                <a16:creationId xmlns:a16="http://schemas.microsoft.com/office/drawing/2014/main" id="{7929E6C2-1E2B-80BA-5CE0-94B10D9EB83A}"/>
              </a:ext>
            </a:extLst>
          </p:cNvPr>
          <p:cNvSpPr txBox="1"/>
          <p:nvPr/>
        </p:nvSpPr>
        <p:spPr>
          <a:xfrm>
            <a:off x="497743" y="5062658"/>
            <a:ext cx="6746488" cy="12984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1000" b="1" dirty="0">
              <a:solidFill>
                <a:schemeClr val="accent1"/>
              </a:solidFill>
              <a:latin typeface="Avenir Next Condensed" panose="020B0506020202020204" pitchFamily="34" charset="0"/>
              <a:ea typeface="+mj-ea"/>
              <a:cs typeface="+mj-cs"/>
            </a:endParaRPr>
          </a:p>
          <a:p>
            <a:pPr lvl="0"/>
            <a:r>
              <a:rPr lang="cs-CZ" sz="2000" dirty="0">
                <a:solidFill>
                  <a:srgbClr val="0070C0"/>
                </a:solidFill>
                <a:effectLst/>
                <a:latin typeface="Avenir Next" panose="020B0503020202020204" pitchFamily="34" charset="0"/>
                <a:ea typeface="Times New Roman" panose="02020603050405020304" pitchFamily="18" charset="0"/>
              </a:rPr>
              <a:t>ÚVODNÍ PREZENTACE</a:t>
            </a:r>
          </a:p>
          <a:p>
            <a:pPr lvl="0"/>
            <a:endParaRPr lang="cs-CZ" sz="2000" dirty="0">
              <a:solidFill>
                <a:srgbClr val="0070C0"/>
              </a:solidFill>
              <a:effectLst/>
              <a:latin typeface="Avenir Next" panose="020B0503020202020204" pitchFamily="34" charset="0"/>
              <a:ea typeface="Times New Roman" panose="02020603050405020304" pitchFamily="18" charset="0"/>
            </a:endParaRPr>
          </a:p>
          <a:p>
            <a:pPr lvl="0"/>
            <a:r>
              <a:rPr lang="cs-CZ" sz="2000" b="1" dirty="0">
                <a:solidFill>
                  <a:srgbClr val="0070C0"/>
                </a:solidFill>
                <a:effectLst/>
                <a:latin typeface="Avenir Next" panose="020B0503020202020204" pitchFamily="34" charset="0"/>
                <a:ea typeface="Times New Roman" panose="02020603050405020304" pitchFamily="18" charset="0"/>
              </a:rPr>
              <a:t>prof. RNDr. Ladislav Dušek, Ph.D.</a:t>
            </a:r>
            <a:br>
              <a:rPr lang="cs-CZ" sz="2000" b="1" dirty="0">
                <a:solidFill>
                  <a:srgbClr val="0070C0"/>
                </a:solidFill>
                <a:effectLst/>
                <a:latin typeface="Avenir Next" panose="020B0503020202020204" pitchFamily="34" charset="0"/>
                <a:ea typeface="Times New Roman" panose="02020603050405020304" pitchFamily="18" charset="0"/>
              </a:rPr>
            </a:br>
            <a:r>
              <a:rPr lang="cs-CZ" sz="2000" dirty="0">
                <a:solidFill>
                  <a:srgbClr val="0070C0"/>
                </a:solidFill>
                <a:effectLst/>
                <a:latin typeface="Avenir Next" panose="020B0503020202020204" pitchFamily="34" charset="0"/>
                <a:ea typeface="Times New Roman" panose="02020603050405020304" pitchFamily="18" charset="0"/>
              </a:rPr>
              <a:t>ředitel Ústav zdravotnických informací a statistiky ČR</a:t>
            </a:r>
          </a:p>
        </p:txBody>
      </p:sp>
    </p:spTree>
    <p:extLst>
      <p:ext uri="{BB962C8B-B14F-4D97-AF65-F5344CB8AC3E}">
        <p14:creationId xmlns:p14="http://schemas.microsoft.com/office/powerpoint/2010/main" val="7713865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257558" y="1012954"/>
            <a:ext cx="66180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poskytovatelů zdravotních služeb (NRPZS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solidFill>
                  <a:srgbClr val="C00000"/>
                </a:solidFill>
              </a:rPr>
              <a:t>Dynamika počtu ordinací praktických lékařů pro </a:t>
            </a:r>
            <a:r>
              <a:rPr lang="cs-CZ" dirty="0">
                <a:solidFill>
                  <a:srgbClr val="C00000"/>
                </a:solidFill>
              </a:rPr>
              <a:t>děti a dorost </a:t>
            </a:r>
            <a:br>
              <a:rPr lang="cs-CZ" dirty="0">
                <a:solidFill>
                  <a:srgbClr val="C00000"/>
                </a:solidFill>
              </a:rPr>
            </a:br>
            <a:r>
              <a:rPr lang="cs-CZ" dirty="0">
                <a:solidFill>
                  <a:srgbClr val="C00000"/>
                </a:solidFill>
              </a:rPr>
              <a:t>v letech 2018-2022</a:t>
            </a:r>
            <a:r>
              <a:rPr lang="en-US" dirty="0">
                <a:solidFill>
                  <a:srgbClr val="C00000"/>
                </a:solidFill>
              </a:rPr>
              <a:t> </a:t>
            </a:r>
          </a:p>
        </p:txBody>
      </p:sp>
      <p:sp>
        <p:nvSpPr>
          <p:cNvPr id="4" name="TextBox 46">
            <a:extLst>
              <a:ext uri="{FF2B5EF4-FFF2-40B4-BE49-F238E27FC236}">
                <a16:creationId xmlns:a16="http://schemas.microsoft.com/office/drawing/2014/main" id="{ECFE8B10-2623-793A-9545-D898D6544E2A}"/>
              </a:ext>
            </a:extLst>
          </p:cNvPr>
          <p:cNvSpPr txBox="1"/>
          <p:nvPr/>
        </p:nvSpPr>
        <p:spPr>
          <a:xfrm>
            <a:off x="953160" y="1579933"/>
            <a:ext cx="35125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lková bilance počtu míst PLDD v letech 2018-2022</a:t>
            </a:r>
          </a:p>
        </p:txBody>
      </p:sp>
      <p:graphicFrame>
        <p:nvGraphicFramePr>
          <p:cNvPr id="5" name="Table 45">
            <a:extLst>
              <a:ext uri="{FF2B5EF4-FFF2-40B4-BE49-F238E27FC236}">
                <a16:creationId xmlns:a16="http://schemas.microsoft.com/office/drawing/2014/main" id="{758C9CE0-5D8B-7670-8392-91103B19B90E}"/>
              </a:ext>
            </a:extLst>
          </p:cNvPr>
          <p:cNvGraphicFramePr>
            <a:graphicFrameLocks noGrp="1"/>
          </p:cNvGraphicFramePr>
          <p:nvPr/>
        </p:nvGraphicFramePr>
        <p:xfrm>
          <a:off x="163400" y="1977543"/>
          <a:ext cx="4635102" cy="3903345"/>
        </p:xfrm>
        <a:graphic>
          <a:graphicData uri="http://schemas.openxmlformats.org/drawingml/2006/table">
            <a:tbl>
              <a:tblPr/>
              <a:tblGrid>
                <a:gridCol w="3418698">
                  <a:extLst>
                    <a:ext uri="{9D8B030D-6E8A-4147-A177-3AD203B41FA5}">
                      <a16:colId xmlns:a16="http://schemas.microsoft.com/office/drawing/2014/main" val="406821776"/>
                    </a:ext>
                  </a:extLst>
                </a:gridCol>
                <a:gridCol w="363518">
                  <a:extLst>
                    <a:ext uri="{9D8B030D-6E8A-4147-A177-3AD203B41FA5}">
                      <a16:colId xmlns:a16="http://schemas.microsoft.com/office/drawing/2014/main" val="1683923342"/>
                    </a:ext>
                  </a:extLst>
                </a:gridCol>
                <a:gridCol w="274046">
                  <a:extLst>
                    <a:ext uri="{9D8B030D-6E8A-4147-A177-3AD203B41FA5}">
                      <a16:colId xmlns:a16="http://schemas.microsoft.com/office/drawing/2014/main" val="1539128207"/>
                    </a:ext>
                  </a:extLst>
                </a:gridCol>
                <a:gridCol w="578840">
                  <a:extLst>
                    <a:ext uri="{9D8B030D-6E8A-4147-A177-3AD203B41FA5}">
                      <a16:colId xmlns:a16="http://schemas.microsoft.com/office/drawing/2014/main" val="1925309117"/>
                    </a:ext>
                  </a:extLst>
                </a:gridCol>
              </a:tblGrid>
              <a:tr h="22083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+</a:t>
                      </a:r>
                      <a:endParaRPr lang="en-US" sz="1400" b="1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+mj-lt"/>
                        </a:rPr>
                        <a:t>-</a:t>
                      </a:r>
                      <a:endParaRPr lang="en-US" sz="1400" b="1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Bil</a:t>
                      </a:r>
                      <a:r>
                        <a:rPr 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nce</a:t>
                      </a: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376776"/>
                  </a:ext>
                </a:extLst>
              </a:tr>
              <a:tr h="17365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2095132"/>
                  </a:ext>
                </a:extLst>
              </a:tr>
              <a:tr h="17365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1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9867141"/>
                  </a:ext>
                </a:extLst>
              </a:tr>
              <a:tr h="17365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1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9705820"/>
                  </a:ext>
                </a:extLst>
              </a:tr>
              <a:tr h="17365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1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4171741"/>
                  </a:ext>
                </a:extLst>
              </a:tr>
              <a:tr h="17365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1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6391307"/>
                  </a:ext>
                </a:extLst>
              </a:tr>
              <a:tr h="17365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1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1238128"/>
                  </a:ext>
                </a:extLst>
              </a:tr>
              <a:tr h="17365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1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9135602"/>
                  </a:ext>
                </a:extLst>
              </a:tr>
              <a:tr h="17365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1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2139054"/>
                  </a:ext>
                </a:extLst>
              </a:tr>
              <a:tr h="17365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2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81063919"/>
                  </a:ext>
                </a:extLst>
              </a:tr>
              <a:tr h="17365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2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5553816"/>
                  </a:ext>
                </a:extLst>
              </a:tr>
              <a:tr h="17365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3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4427891"/>
                  </a:ext>
                </a:extLst>
              </a:tr>
              <a:tr h="17365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4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1010010"/>
                  </a:ext>
                </a:extLst>
              </a:tr>
              <a:tr h="17365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4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0985808"/>
                  </a:ext>
                </a:extLst>
              </a:tr>
              <a:tr h="17365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5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9538628"/>
                  </a:ext>
                </a:extLst>
              </a:tr>
              <a:tr h="17365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endParaRPr lang="cs-CZ" sz="10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endParaRPr lang="cs-CZ" sz="10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5075863"/>
                  </a:ext>
                </a:extLst>
              </a:tr>
              <a:tr h="17365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6307936"/>
                  </a:ext>
                </a:extLst>
              </a:tr>
              <a:tr h="17365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5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6663841"/>
                  </a:ext>
                </a:extLst>
              </a:tr>
              <a:tr h="17365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1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1369440"/>
                  </a:ext>
                </a:extLst>
              </a:tr>
              <a:tr h="17365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5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444710"/>
                  </a:ext>
                </a:extLst>
              </a:tr>
              <a:tr h="17365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1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879934"/>
                  </a:ext>
                </a:extLst>
              </a:tr>
              <a:tr h="17365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3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0267646"/>
                  </a:ext>
                </a:extLst>
              </a:tr>
            </a:tbl>
          </a:graphicData>
        </a:graphic>
      </p:graphicFrame>
      <p:graphicFrame>
        <p:nvGraphicFramePr>
          <p:cNvPr id="6" name="Chart 6">
            <a:extLst>
              <a:ext uri="{FF2B5EF4-FFF2-40B4-BE49-F238E27FC236}">
                <a16:creationId xmlns:a16="http://schemas.microsoft.com/office/drawing/2014/main" id="{D598B2D6-9CF9-3481-A360-AB6C346294F0}"/>
              </a:ext>
            </a:extLst>
          </p:cNvPr>
          <p:cNvGraphicFramePr/>
          <p:nvPr/>
        </p:nvGraphicFramePr>
        <p:xfrm>
          <a:off x="90950" y="1892600"/>
          <a:ext cx="3527682" cy="40819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Box 8">
            <a:extLst>
              <a:ext uri="{FF2B5EF4-FFF2-40B4-BE49-F238E27FC236}">
                <a16:creationId xmlns:a16="http://schemas.microsoft.com/office/drawing/2014/main" id="{E9411A3A-CDCA-4315-BBBB-A8D84590B1C3}"/>
              </a:ext>
            </a:extLst>
          </p:cNvPr>
          <p:cNvSpPr txBox="1"/>
          <p:nvPr/>
        </p:nvSpPr>
        <p:spPr>
          <a:xfrm>
            <a:off x="77169" y="4595471"/>
            <a:ext cx="10711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e velikosti sídl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D8C228A-34D3-B1DA-D4BD-430287D4B7A9}"/>
              </a:ext>
            </a:extLst>
          </p:cNvPr>
          <p:cNvSpPr txBox="1"/>
          <p:nvPr/>
        </p:nvSpPr>
        <p:spPr>
          <a:xfrm>
            <a:off x="79940" y="1979737"/>
            <a:ext cx="6399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e kraj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FC44151-8DD3-86DB-FD93-903D8F387690}"/>
              </a:ext>
            </a:extLst>
          </p:cNvPr>
          <p:cNvSpPr txBox="1"/>
          <p:nvPr/>
        </p:nvSpPr>
        <p:spPr>
          <a:xfrm>
            <a:off x="5960378" y="1496813"/>
            <a:ext cx="61659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b="1" dirty="0"/>
              <a:t>Počet zrušených </a:t>
            </a:r>
            <a:r>
              <a:rPr lang="cs-CZ" sz="1800" b="1" dirty="0"/>
              <a:t>míst poskytování 2018 – 2022 </a:t>
            </a:r>
            <a:endParaRPr lang="cs-CZ" b="1" dirty="0"/>
          </a:p>
        </p:txBody>
      </p:sp>
      <p:pic>
        <p:nvPicPr>
          <p:cNvPr id="14" name="Picture 13" descr="A picture containing map&#10;&#10;Description automatically generated">
            <a:extLst>
              <a:ext uri="{FF2B5EF4-FFF2-40B4-BE49-F238E27FC236}">
                <a16:creationId xmlns:a16="http://schemas.microsoft.com/office/drawing/2014/main" id="{E6DDC0C9-C802-C2FE-594A-42E801014AD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645" r="31375" b="26558"/>
          <a:stretch/>
        </p:blipFill>
        <p:spPr>
          <a:xfrm>
            <a:off x="4870952" y="2042227"/>
            <a:ext cx="6655192" cy="3620796"/>
          </a:xfrm>
          <a:prstGeom prst="rect">
            <a:avLst/>
          </a:prstGeom>
        </p:spPr>
      </p:pic>
      <p:pic>
        <p:nvPicPr>
          <p:cNvPr id="13" name="Picture 12" descr="A picture containing map&#10;&#10;Description automatically generated">
            <a:extLst>
              <a:ext uri="{FF2B5EF4-FFF2-40B4-BE49-F238E27FC236}">
                <a16:creationId xmlns:a16="http://schemas.microsoft.com/office/drawing/2014/main" id="{9B041C66-F5ED-07A5-DBEA-85729FC5B73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838" t="35107" r="19522" b="47203"/>
          <a:stretch/>
        </p:blipFill>
        <p:spPr>
          <a:xfrm>
            <a:off x="10402349" y="1981063"/>
            <a:ext cx="1031846" cy="1213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70903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textu 4">
            <a:extLst>
              <a:ext uri="{FF2B5EF4-FFF2-40B4-BE49-F238E27FC236}">
                <a16:creationId xmlns:a16="http://schemas.microsoft.com/office/drawing/2014/main" id="{85DF8549-49A9-4045-9440-3C137B807487}"/>
              </a:ext>
            </a:extLst>
          </p:cNvPr>
          <p:cNvSpPr txBox="1">
            <a:spLocks/>
          </p:cNvSpPr>
          <p:nvPr/>
        </p:nvSpPr>
        <p:spPr>
          <a:xfrm>
            <a:off x="110201" y="4428078"/>
            <a:ext cx="10002103" cy="1423411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s-CZ" sz="4000" b="1" dirty="0">
                <a:solidFill>
                  <a:srgbClr val="C00000"/>
                </a:solidFill>
              </a:rPr>
              <a:t>Může hrozící propad kapacit PLDD</a:t>
            </a:r>
          </a:p>
          <a:p>
            <a:pPr marL="0" indent="0">
              <a:buNone/>
            </a:pPr>
            <a:r>
              <a:rPr lang="cs-CZ" sz="4000" b="1" dirty="0">
                <a:solidFill>
                  <a:srgbClr val="C00000"/>
                </a:solidFill>
              </a:rPr>
              <a:t> kompenzovat stávající vzdělávání </a:t>
            </a:r>
          </a:p>
          <a:p>
            <a:pPr marL="0" indent="0">
              <a:buNone/>
            </a:pPr>
            <a:r>
              <a:rPr lang="cs-CZ" sz="4000" b="1" dirty="0">
                <a:solidFill>
                  <a:srgbClr val="C00000"/>
                </a:solidFill>
              </a:rPr>
              <a:t>a počet absolventů? </a:t>
            </a:r>
          </a:p>
        </p:txBody>
      </p:sp>
    </p:spTree>
    <p:extLst>
      <p:ext uri="{BB962C8B-B14F-4D97-AF65-F5344CB8AC3E}">
        <p14:creationId xmlns:p14="http://schemas.microsoft.com/office/powerpoint/2010/main" val="9012293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Nadpis 1">
            <a:extLst>
              <a:ext uri="{FF2B5EF4-FFF2-40B4-BE49-F238E27FC236}">
                <a16:creationId xmlns:a16="http://schemas.microsoft.com/office/drawing/2014/main" id="{EA328CEC-C272-456D-B936-D7E722870E2A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74894" y="156024"/>
            <a:ext cx="11917106" cy="7747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F6063C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Počty absolventů a nově zařazených studentů dle jednotlivých pediatrických specializací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AE6ECEE7-6544-E946-165B-F2E46F672B20}"/>
              </a:ext>
            </a:extLst>
          </p:cNvPr>
          <p:cNvGrpSpPr/>
          <p:nvPr/>
        </p:nvGrpSpPr>
        <p:grpSpPr>
          <a:xfrm>
            <a:off x="2904447" y="845988"/>
            <a:ext cx="6632450" cy="246221"/>
            <a:chOff x="3290888" y="703711"/>
            <a:chExt cx="6632450" cy="246221"/>
          </a:xfrm>
        </p:grpSpPr>
        <p:sp>
          <p:nvSpPr>
            <p:cNvPr id="5" name="Line 67">
              <a:extLst>
                <a:ext uri="{FF2B5EF4-FFF2-40B4-BE49-F238E27FC236}">
                  <a16:creationId xmlns:a16="http://schemas.microsoft.com/office/drawing/2014/main" id="{72D5BFE7-BFDE-DCD9-014F-25EB9D339E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90888" y="826821"/>
              <a:ext cx="325662" cy="0"/>
            </a:xfrm>
            <a:prstGeom prst="line">
              <a:avLst/>
            </a:prstGeom>
            <a:noFill/>
            <a:ln w="38100" cap="rnd">
              <a:solidFill>
                <a:srgbClr val="4472C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Rectangle 68">
              <a:extLst>
                <a:ext uri="{FF2B5EF4-FFF2-40B4-BE49-F238E27FC236}">
                  <a16:creationId xmlns:a16="http://schemas.microsoft.com/office/drawing/2014/main" id="{AC5A2EE1-D15D-8440-69B1-98DAF22606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0385" y="703711"/>
              <a:ext cx="1341778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Dětské lékařství</a:t>
              </a:r>
              <a:endParaRPr kumimoji="0" lang="cs-CZ" alt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4" name="Line 69">
              <a:extLst>
                <a:ext uri="{FF2B5EF4-FFF2-40B4-BE49-F238E27FC236}">
                  <a16:creationId xmlns:a16="http://schemas.microsoft.com/office/drawing/2014/main" id="{977A4AB8-A548-7343-AB40-9FB85BEAEC8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15256" y="826821"/>
              <a:ext cx="325662" cy="0"/>
            </a:xfrm>
            <a:prstGeom prst="line">
              <a:avLst/>
            </a:prstGeom>
            <a:noFill/>
            <a:ln w="38100" cap="rnd">
              <a:solidFill>
                <a:srgbClr val="C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Rectangle 70">
              <a:extLst>
                <a:ext uri="{FF2B5EF4-FFF2-40B4-BE49-F238E27FC236}">
                  <a16:creationId xmlns:a16="http://schemas.microsoft.com/office/drawing/2014/main" id="{053480DC-526C-93C1-5D4E-4A314133CA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76869" y="703711"/>
              <a:ext cx="3005695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Praktické lékařství pro děti a dorost</a:t>
              </a:r>
              <a:endParaRPr kumimoji="0" lang="cs-CZ" alt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9" name="Line 71">
              <a:extLst>
                <a:ext uri="{FF2B5EF4-FFF2-40B4-BE49-F238E27FC236}">
                  <a16:creationId xmlns:a16="http://schemas.microsoft.com/office/drawing/2014/main" id="{A1E6A2BE-1206-7E66-0DC7-EB1C457E40A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799656" y="826821"/>
              <a:ext cx="325662" cy="0"/>
            </a:xfrm>
            <a:prstGeom prst="line">
              <a:avLst/>
            </a:prstGeom>
            <a:noFill/>
            <a:ln w="3810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Rectangle 72">
              <a:extLst>
                <a:ext uri="{FF2B5EF4-FFF2-40B4-BE49-F238E27FC236}">
                  <a16:creationId xmlns:a16="http://schemas.microsoft.com/office/drawing/2014/main" id="{B4556205-E94E-84A9-CF7F-5B83BCDC75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9154" y="703711"/>
              <a:ext cx="764184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altLang="cs-CZ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Pediatrie</a:t>
              </a:r>
              <a:endParaRPr kumimoji="0" lang="cs-CZ" alt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graphicFrame>
        <p:nvGraphicFramePr>
          <p:cNvPr id="22" name="Graf 21">
            <a:extLst>
              <a:ext uri="{FF2B5EF4-FFF2-40B4-BE49-F238E27FC236}">
                <a16:creationId xmlns:a16="http://schemas.microsoft.com/office/drawing/2014/main" id="{E2710DC2-40FE-68EA-E3E9-080F25F15C81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474457" y="1903829"/>
          <a:ext cx="3375003" cy="45832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23" name="Obdélník 22">
            <a:extLst>
              <a:ext uri="{FF2B5EF4-FFF2-40B4-BE49-F238E27FC236}">
                <a16:creationId xmlns:a16="http://schemas.microsoft.com/office/drawing/2014/main" id="{3B48C64C-90E9-52A9-89FB-1D448757199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00068" y="1331640"/>
            <a:ext cx="348989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ty absolventů</a:t>
            </a:r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FBD98927-CE4B-61A7-AE29-1A5CB5BD96A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88296" y="1745685"/>
            <a:ext cx="343555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zdravotnických pracovníků (NR-ZP)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2FF673C3-598B-338C-3C01-3F96D9134F5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250418" y="6302877"/>
            <a:ext cx="187545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k získání atestace</a:t>
            </a:r>
          </a:p>
        </p:txBody>
      </p:sp>
      <p:sp>
        <p:nvSpPr>
          <p:cNvPr id="26" name="Obdélník 25">
            <a:extLst>
              <a:ext uri="{FF2B5EF4-FFF2-40B4-BE49-F238E27FC236}">
                <a16:creationId xmlns:a16="http://schemas.microsoft.com/office/drawing/2014/main" id="{0D1204AA-4EF8-8CF4-46CA-CE2B6BC77B14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 rot="16200000">
            <a:off x="-609013" y="3772632"/>
            <a:ext cx="182838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atestovaných</a:t>
            </a:r>
          </a:p>
        </p:txBody>
      </p:sp>
      <p:graphicFrame>
        <p:nvGraphicFramePr>
          <p:cNvPr id="27" name="Graf 26">
            <a:extLst>
              <a:ext uri="{FF2B5EF4-FFF2-40B4-BE49-F238E27FC236}">
                <a16:creationId xmlns:a16="http://schemas.microsoft.com/office/drawing/2014/main" id="{869F3D6E-A7EE-10B9-DD21-F1A0730CD69C}"/>
              </a:ext>
            </a:extLst>
          </p:cNvPr>
          <p:cNvGraphicFramePr/>
          <p:nvPr>
            <p:custDataLst>
              <p:tags r:id="rId7"/>
            </p:custDataLst>
          </p:nvPr>
        </p:nvGraphicFramePr>
        <p:xfrm>
          <a:off x="4645112" y="1903829"/>
          <a:ext cx="3320505" cy="45832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28" name="Obdélník 27">
            <a:extLst>
              <a:ext uri="{FF2B5EF4-FFF2-40B4-BE49-F238E27FC236}">
                <a16:creationId xmlns:a16="http://schemas.microsoft.com/office/drawing/2014/main" id="{442C489C-96A7-8502-954E-80389E7F0DFA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4475727" y="1141856"/>
            <a:ext cx="348989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ty nově zařazených studentů do specializace (pediatrický kmen)</a:t>
            </a:r>
          </a:p>
        </p:txBody>
      </p:sp>
      <p:sp>
        <p:nvSpPr>
          <p:cNvPr id="29" name="TextBox 6">
            <a:extLst>
              <a:ext uri="{FF2B5EF4-FFF2-40B4-BE49-F238E27FC236}">
                <a16:creationId xmlns:a16="http://schemas.microsoft.com/office/drawing/2014/main" id="{555DC562-CB3E-F139-E82C-38882E57D16B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645113" y="1745685"/>
            <a:ext cx="343555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Evidence zdravotnických pracovníků (EZP), MZ ČR </a:t>
            </a:r>
          </a:p>
        </p:txBody>
      </p:sp>
      <p:sp>
        <p:nvSpPr>
          <p:cNvPr id="30" name="Obdélník 29">
            <a:extLst>
              <a:ext uri="{FF2B5EF4-FFF2-40B4-BE49-F238E27FC236}">
                <a16:creationId xmlns:a16="http://schemas.microsoft.com/office/drawing/2014/main" id="{96ACE4A4-D03F-6436-A0FE-AE5D3E6098B8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448767" y="6302877"/>
            <a:ext cx="207864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k zařazení do studia</a:t>
            </a:r>
          </a:p>
        </p:txBody>
      </p:sp>
      <p:sp>
        <p:nvSpPr>
          <p:cNvPr id="31" name="Obdélník 30">
            <a:extLst>
              <a:ext uri="{FF2B5EF4-FFF2-40B4-BE49-F238E27FC236}">
                <a16:creationId xmlns:a16="http://schemas.microsoft.com/office/drawing/2014/main" id="{433BF9A5-65A7-BEDE-D26B-3A9E4F4D4F1F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 rot="16200000">
            <a:off x="3037231" y="3772632"/>
            <a:ext cx="291150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nově zařazených studentů</a:t>
            </a:r>
          </a:p>
        </p:txBody>
      </p:sp>
      <p:sp>
        <p:nvSpPr>
          <p:cNvPr id="33" name="Obdélník 32">
            <a:extLst>
              <a:ext uri="{FF2B5EF4-FFF2-40B4-BE49-F238E27FC236}">
                <a16:creationId xmlns:a16="http://schemas.microsoft.com/office/drawing/2014/main" id="{13522E1C-13D7-69F2-E8D1-1949F52122D4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103637" y="1141856"/>
            <a:ext cx="405221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vydaných certifikátů o absolvování základního pediatrického kmene</a:t>
            </a:r>
          </a:p>
        </p:txBody>
      </p:sp>
      <p:sp>
        <p:nvSpPr>
          <p:cNvPr id="34" name="TextBox 6">
            <a:extLst>
              <a:ext uri="{FF2B5EF4-FFF2-40B4-BE49-F238E27FC236}">
                <a16:creationId xmlns:a16="http://schemas.microsoft.com/office/drawing/2014/main" id="{04311F6D-3B21-F115-7054-BF21B69E2786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8560784" y="1745685"/>
            <a:ext cx="343555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Evidence zdravotnických pracovníků (EZP), MZ ČR </a:t>
            </a:r>
          </a:p>
        </p:txBody>
      </p:sp>
      <p:graphicFrame>
        <p:nvGraphicFramePr>
          <p:cNvPr id="37" name="Graf 36">
            <a:extLst>
              <a:ext uri="{FF2B5EF4-FFF2-40B4-BE49-F238E27FC236}">
                <a16:creationId xmlns:a16="http://schemas.microsoft.com/office/drawing/2014/main" id="{A2B114A6-30BE-4152-F15F-C04F39274407}"/>
              </a:ext>
            </a:extLst>
          </p:cNvPr>
          <p:cNvGraphicFramePr/>
          <p:nvPr>
            <p:custDataLst>
              <p:tags r:id="rId14"/>
            </p:custDataLst>
          </p:nvPr>
        </p:nvGraphicFramePr>
        <p:xfrm>
          <a:off x="8475516" y="1903829"/>
          <a:ext cx="3320505" cy="45832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38" name="Obdélník 37">
            <a:extLst>
              <a:ext uri="{FF2B5EF4-FFF2-40B4-BE49-F238E27FC236}">
                <a16:creationId xmlns:a16="http://schemas.microsoft.com/office/drawing/2014/main" id="{86171D74-2FBA-568B-3309-1DD5D3374A79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9299245" y="6302877"/>
            <a:ext cx="203850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k vydání certifikátu</a:t>
            </a:r>
          </a:p>
        </p:txBody>
      </p:sp>
      <p:sp>
        <p:nvSpPr>
          <p:cNvPr id="39" name="Obdélník 38">
            <a:extLst>
              <a:ext uri="{FF2B5EF4-FFF2-40B4-BE49-F238E27FC236}">
                <a16:creationId xmlns:a16="http://schemas.microsoft.com/office/drawing/2014/main" id="{3FE9331D-8E87-70D7-65B1-3761695AFDFD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 rot="16200000">
            <a:off x="7569098" y="3772632"/>
            <a:ext cx="164660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absolventů</a:t>
            </a:r>
          </a:p>
        </p:txBody>
      </p:sp>
    </p:spTree>
    <p:extLst>
      <p:ext uri="{BB962C8B-B14F-4D97-AF65-F5344CB8AC3E}">
        <p14:creationId xmlns:p14="http://schemas.microsoft.com/office/powerpoint/2010/main" val="426832135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Nadpis 1">
            <a:extLst>
              <a:ext uri="{FF2B5EF4-FFF2-40B4-BE49-F238E27FC236}">
                <a16:creationId xmlns:a16="http://schemas.microsoft.com/office/drawing/2014/main" id="{EA328CEC-C272-456D-B936-D7E722870E2A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57558" y="156024"/>
            <a:ext cx="11743706" cy="7747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F6063C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Po</a:t>
            </a: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F6063C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čet nových absolventů pediatrických specializací,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F6063C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kteří skutečně nastoupili do klinické praxe</a:t>
            </a:r>
          </a:p>
        </p:txBody>
      </p:sp>
      <p:graphicFrame>
        <p:nvGraphicFramePr>
          <p:cNvPr id="9" name="Graf 8"/>
          <p:cNvGraphicFramePr/>
          <p:nvPr>
            <p:custDataLst>
              <p:tags r:id="rId2"/>
            </p:custDataLst>
          </p:nvPr>
        </p:nvGraphicFramePr>
        <p:xfrm>
          <a:off x="6547432" y="1417799"/>
          <a:ext cx="5040000" cy="46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10" name="Obdélník 9"/>
          <p:cNvSpPr/>
          <p:nvPr>
            <p:custDataLst>
              <p:tags r:id="rId3"/>
            </p:custDataLst>
          </p:nvPr>
        </p:nvSpPr>
        <p:spPr>
          <a:xfrm>
            <a:off x="8737065" y="6097798"/>
            <a:ext cx="145443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k získání atestace</a:t>
            </a:r>
          </a:p>
        </p:txBody>
      </p:sp>
      <p:sp>
        <p:nvSpPr>
          <p:cNvPr id="11" name="Obdélník 10"/>
          <p:cNvSpPr/>
          <p:nvPr>
            <p:custDataLst>
              <p:tags r:id="rId4"/>
            </p:custDataLst>
          </p:nvPr>
        </p:nvSpPr>
        <p:spPr>
          <a:xfrm rot="16200000">
            <a:off x="5684658" y="3290499"/>
            <a:ext cx="164686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stoupení pohlaví [%]</a:t>
            </a:r>
          </a:p>
        </p:txBody>
      </p:sp>
      <p:graphicFrame>
        <p:nvGraphicFramePr>
          <p:cNvPr id="12" name="Graf 11"/>
          <p:cNvGraphicFramePr/>
          <p:nvPr>
            <p:custDataLst>
              <p:tags r:id="rId5"/>
            </p:custDataLst>
          </p:nvPr>
        </p:nvGraphicFramePr>
        <p:xfrm>
          <a:off x="830188" y="1417799"/>
          <a:ext cx="5040000" cy="46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13" name="Obdélník 12"/>
          <p:cNvSpPr/>
          <p:nvPr>
            <p:custDataLst>
              <p:tags r:id="rId6"/>
            </p:custDataLst>
          </p:nvPr>
        </p:nvSpPr>
        <p:spPr>
          <a:xfrm>
            <a:off x="2932338" y="6097797"/>
            <a:ext cx="145443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k získání atestace</a:t>
            </a:r>
          </a:p>
        </p:txBody>
      </p:sp>
      <p:sp>
        <p:nvSpPr>
          <p:cNvPr id="14" name="Obdélník 13"/>
          <p:cNvSpPr/>
          <p:nvPr>
            <p:custDataLst>
              <p:tags r:id="rId7"/>
            </p:custDataLst>
          </p:nvPr>
        </p:nvSpPr>
        <p:spPr>
          <a:xfrm rot="16200000">
            <a:off x="83633" y="3290498"/>
            <a:ext cx="141442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atestovaných</a:t>
            </a:r>
          </a:p>
        </p:txBody>
      </p:sp>
      <p:graphicFrame>
        <p:nvGraphicFramePr>
          <p:cNvPr id="17" name="Tabulka 16"/>
          <p:cNvGraphicFramePr>
            <a:graphicFrameLocks noGrp="1"/>
          </p:cNvGraphicFramePr>
          <p:nvPr>
            <p:custDataLst>
              <p:tags r:id="rId8"/>
            </p:custDataLst>
          </p:nvPr>
        </p:nvGraphicFramePr>
        <p:xfrm>
          <a:off x="7163294" y="923348"/>
          <a:ext cx="4601981" cy="575876"/>
        </p:xfrm>
        <a:graphic>
          <a:graphicData uri="http://schemas.openxmlformats.org/drawingml/2006/table">
            <a:tbl>
              <a:tblPr/>
              <a:tblGrid>
                <a:gridCol w="33065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065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065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3065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3065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3065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30658">
                  <a:extLst>
                    <a:ext uri="{9D8B030D-6E8A-4147-A177-3AD203B41FA5}">
                      <a16:colId xmlns:a16="http://schemas.microsoft.com/office/drawing/2014/main" val="3511018083"/>
                    </a:ext>
                  </a:extLst>
                </a:gridCol>
                <a:gridCol w="330658">
                  <a:extLst>
                    <a:ext uri="{9D8B030D-6E8A-4147-A177-3AD203B41FA5}">
                      <a16:colId xmlns:a16="http://schemas.microsoft.com/office/drawing/2014/main" val="1519263388"/>
                    </a:ext>
                  </a:extLst>
                </a:gridCol>
                <a:gridCol w="33065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33065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330658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330658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330658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303427">
                  <a:extLst>
                    <a:ext uri="{9D8B030D-6E8A-4147-A177-3AD203B41FA5}">
                      <a16:colId xmlns:a16="http://schemas.microsoft.com/office/drawing/2014/main" val="313078532"/>
                    </a:ext>
                  </a:extLst>
                </a:gridCol>
              </a:tblGrid>
              <a:tr h="57587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9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8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9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1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1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06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9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8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9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9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0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98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</a:t>
                      </a: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2" name="Obdélník 21"/>
          <p:cNvSpPr/>
          <p:nvPr>
            <p:custDataLst>
              <p:tags r:id="rId9"/>
            </p:custDataLst>
          </p:nvPr>
        </p:nvSpPr>
        <p:spPr>
          <a:xfrm>
            <a:off x="5221486" y="6445302"/>
            <a:ext cx="144016" cy="144016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Obdélník 22"/>
          <p:cNvSpPr/>
          <p:nvPr>
            <p:custDataLst>
              <p:tags r:id="rId10"/>
            </p:custDataLst>
          </p:nvPr>
        </p:nvSpPr>
        <p:spPr>
          <a:xfrm>
            <a:off x="6293669" y="6440458"/>
            <a:ext cx="144016" cy="144016"/>
          </a:xfrm>
          <a:prstGeom prst="rect">
            <a:avLst/>
          </a:prstGeom>
          <a:solidFill>
            <a:srgbClr val="FF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ED738D24-130C-11E2-DFBD-67C1132AECCA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220061" y="6332644"/>
            <a:ext cx="8759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uži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76E12A25-FD65-28D0-C9CD-7DC84975EEEA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6328340" y="6332644"/>
            <a:ext cx="8759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Ženy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9480E0F2-C610-E7BE-302A-934DBCA1973E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190736" y="930724"/>
            <a:ext cx="438434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zdravotnických pracovníků (NR-ZP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08898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textu 4">
            <a:extLst>
              <a:ext uri="{FF2B5EF4-FFF2-40B4-BE49-F238E27FC236}">
                <a16:creationId xmlns:a16="http://schemas.microsoft.com/office/drawing/2014/main" id="{85DF8549-49A9-4045-9440-3C137B807487}"/>
              </a:ext>
            </a:extLst>
          </p:cNvPr>
          <p:cNvSpPr txBox="1">
            <a:spLocks/>
          </p:cNvSpPr>
          <p:nvPr/>
        </p:nvSpPr>
        <p:spPr>
          <a:xfrm>
            <a:off x="91151" y="4847178"/>
            <a:ext cx="10002103" cy="1423411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s-CZ" sz="4000" b="1" dirty="0">
                <a:solidFill>
                  <a:srgbClr val="C00000"/>
                </a:solidFill>
              </a:rPr>
              <a:t>Je možné posoudit stav kapacit PLDD </a:t>
            </a:r>
          </a:p>
          <a:p>
            <a:pPr marL="0" indent="0">
              <a:buNone/>
            </a:pPr>
            <a:r>
              <a:rPr lang="cs-CZ" sz="4000" b="1" dirty="0">
                <a:solidFill>
                  <a:srgbClr val="C00000"/>
                </a:solidFill>
              </a:rPr>
              <a:t>v regionech pomocí více-kriteriálního modelu? </a:t>
            </a:r>
          </a:p>
        </p:txBody>
      </p:sp>
    </p:spTree>
    <p:extLst>
      <p:ext uri="{BB962C8B-B14F-4D97-AF65-F5344CB8AC3E}">
        <p14:creationId xmlns:p14="http://schemas.microsoft.com/office/powerpoint/2010/main" val="24699459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ovéPole 1">
            <a:extLst>
              <a:ext uri="{FF2B5EF4-FFF2-40B4-BE49-F238E27FC236}">
                <a16:creationId xmlns:a16="http://schemas.microsoft.com/office/drawing/2014/main" id="{6A20EC0E-F213-EE68-F33D-D724BD825B2A}"/>
              </a:ext>
            </a:extLst>
          </p:cNvPr>
          <p:cNvSpPr txBox="1"/>
          <p:nvPr/>
        </p:nvSpPr>
        <p:spPr>
          <a:xfrm>
            <a:off x="133350" y="1317694"/>
            <a:ext cx="5220155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cs-CZ" b="1" dirty="0"/>
              <a:t>Počet pacientů na úvazek L2 + L3 lékaře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cs-CZ" dirty="0"/>
              <a:t>Nad průměrem ČR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cs-CZ" dirty="0"/>
              <a:t>&gt; 1,15 průměru ČR</a:t>
            </a:r>
          </a:p>
          <a:p>
            <a:pPr lvl="1"/>
            <a:endParaRPr lang="cs-CZ" dirty="0"/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cs-CZ" b="1" dirty="0"/>
              <a:t>Průměrný a nižší počet úvazků L2+L3/IČO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cs-CZ" dirty="0"/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cs-CZ" b="1" dirty="0"/>
              <a:t>Nadprůměrný věk lékařů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cs-CZ" dirty="0"/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cs-CZ" b="1" dirty="0"/>
              <a:t>Nepřítomnost L1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cs-CZ" dirty="0"/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cs-CZ" b="1" dirty="0"/>
              <a:t>Věk pacientů 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cs-CZ" dirty="0"/>
              <a:t>Standardizovaný jednicový pacient: skóre nad průměrem 2,11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cs-CZ" dirty="0"/>
              <a:t>Standardizovaný jednicový pacient: skóre nad průměrem o více než 20%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endParaRPr lang="cs-CZ" dirty="0"/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cs-CZ" b="1" dirty="0">
                <a:highlight>
                  <a:srgbClr val="FFFF00"/>
                </a:highlight>
              </a:rPr>
              <a:t>Žádný přírůstek pacientů ve věku 0 – 3 let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cs-CZ" dirty="0">
                <a:highlight>
                  <a:srgbClr val="FFFF00"/>
                </a:highlight>
              </a:rPr>
              <a:t>2019 – 2020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cs-CZ" dirty="0">
                <a:highlight>
                  <a:srgbClr val="FFFF00"/>
                </a:highlight>
              </a:rPr>
              <a:t>2020 - 2021</a:t>
            </a: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E2E750EA-BAC7-9F35-ED1F-F3A353B23A5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53100" y="1662113"/>
            <a:ext cx="3803354" cy="4352924"/>
          </a:xfrm>
          <a:prstGeom prst="rect">
            <a:avLst/>
          </a:prstGeom>
        </p:spPr>
      </p:pic>
      <p:sp>
        <p:nvSpPr>
          <p:cNvPr id="5" name="Pravá složená závorka 4">
            <a:extLst>
              <a:ext uri="{FF2B5EF4-FFF2-40B4-BE49-F238E27FC236}">
                <a16:creationId xmlns:a16="http://schemas.microsoft.com/office/drawing/2014/main" id="{131B1CB9-C3E4-8DD7-7D7C-B4D67F3FC1DF}"/>
              </a:ext>
            </a:extLst>
          </p:cNvPr>
          <p:cNvSpPr/>
          <p:nvPr/>
        </p:nvSpPr>
        <p:spPr>
          <a:xfrm>
            <a:off x="9582150" y="2286000"/>
            <a:ext cx="276225" cy="9525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8C46A24C-1CF3-2832-16EB-77D8B1F83F47}"/>
              </a:ext>
            </a:extLst>
          </p:cNvPr>
          <p:cNvSpPr txBox="1"/>
          <p:nvPr/>
        </p:nvSpPr>
        <p:spPr>
          <a:xfrm>
            <a:off x="10020300" y="2577584"/>
            <a:ext cx="1809750" cy="369332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r>
              <a:rPr lang="cs-CZ" b="1" dirty="0"/>
              <a:t>134 PZS (6%)</a:t>
            </a:r>
          </a:p>
        </p:txBody>
      </p:sp>
      <p:sp>
        <p:nvSpPr>
          <p:cNvPr id="7" name="Pravá složená závorka 6">
            <a:extLst>
              <a:ext uri="{FF2B5EF4-FFF2-40B4-BE49-F238E27FC236}">
                <a16:creationId xmlns:a16="http://schemas.microsoft.com/office/drawing/2014/main" id="{49181DBE-1B64-37A6-5FBE-B58CB55E619C}"/>
              </a:ext>
            </a:extLst>
          </p:cNvPr>
          <p:cNvSpPr/>
          <p:nvPr/>
        </p:nvSpPr>
        <p:spPr>
          <a:xfrm>
            <a:off x="9582150" y="4299012"/>
            <a:ext cx="276225" cy="132702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F01C42EF-8AE2-990D-FCB8-F053103699F8}"/>
              </a:ext>
            </a:extLst>
          </p:cNvPr>
          <p:cNvSpPr txBox="1"/>
          <p:nvPr/>
        </p:nvSpPr>
        <p:spPr>
          <a:xfrm>
            <a:off x="10029825" y="4777858"/>
            <a:ext cx="1809750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r>
              <a:rPr lang="cs-CZ" b="1" dirty="0"/>
              <a:t>607 PZS (28%)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F2A66695-4469-8408-5C86-9F3C1F0D9B37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90499" y="140302"/>
            <a:ext cx="4924425" cy="770861"/>
          </a:xfrm>
        </p:spPr>
        <p:txBody>
          <a:bodyPr>
            <a:noAutofit/>
          </a:bodyPr>
          <a:lstStyle/>
          <a:p>
            <a:pPr algn="ctr"/>
            <a:r>
              <a:rPr lang="cs-CZ" sz="2800" b="1" dirty="0">
                <a:solidFill>
                  <a:srgbClr val="C00000"/>
                </a:solidFill>
                <a:latin typeface="+mn-lt"/>
              </a:rPr>
              <a:t>Parametry navyšující rizikové skóre pro chybějící kapacitu </a:t>
            </a:r>
            <a:endParaRPr lang="en-US" sz="2800" b="1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A515E5BC-B880-54B9-A584-5104101DD188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6229350" y="198878"/>
            <a:ext cx="4924425" cy="77086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cs-CZ" sz="2800" b="1" dirty="0">
                <a:solidFill>
                  <a:srgbClr val="C00000"/>
                </a:solidFill>
                <a:latin typeface="+mn-lt"/>
              </a:rPr>
              <a:t>Výsledné bodové hodnocení ambulancí</a:t>
            </a:r>
            <a:endParaRPr lang="en-US" sz="2800" b="1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E13DD023-5359-F9D7-2C2B-77A9728ECDDA}"/>
              </a:ext>
            </a:extLst>
          </p:cNvPr>
          <p:cNvSpPr txBox="1"/>
          <p:nvPr/>
        </p:nvSpPr>
        <p:spPr>
          <a:xfrm>
            <a:off x="10325100" y="3541753"/>
            <a:ext cx="1809750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r>
              <a:rPr lang="cs-CZ" b="1" dirty="0"/>
              <a:t>1 427 PZS (66%)</a:t>
            </a:r>
          </a:p>
        </p:txBody>
      </p:sp>
      <p:sp>
        <p:nvSpPr>
          <p:cNvPr id="13" name="Pravá složená závorka 12">
            <a:extLst>
              <a:ext uri="{FF2B5EF4-FFF2-40B4-BE49-F238E27FC236}">
                <a16:creationId xmlns:a16="http://schemas.microsoft.com/office/drawing/2014/main" id="{3DC7A49B-A5A5-F28B-8BA1-198FA87A3C1E}"/>
              </a:ext>
            </a:extLst>
          </p:cNvPr>
          <p:cNvSpPr/>
          <p:nvPr/>
        </p:nvSpPr>
        <p:spPr>
          <a:xfrm>
            <a:off x="9891712" y="3257550"/>
            <a:ext cx="276225" cy="9525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4" name="Pravá složená závorka 13">
            <a:extLst>
              <a:ext uri="{FF2B5EF4-FFF2-40B4-BE49-F238E27FC236}">
                <a16:creationId xmlns:a16="http://schemas.microsoft.com/office/drawing/2014/main" id="{FBB48257-4CBD-6D70-7EB0-5E4208F0598C}"/>
              </a:ext>
            </a:extLst>
          </p:cNvPr>
          <p:cNvSpPr/>
          <p:nvPr/>
        </p:nvSpPr>
        <p:spPr>
          <a:xfrm>
            <a:off x="5202988" y="1400174"/>
            <a:ext cx="378662" cy="527283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5" name="Šipka: doprava 14">
            <a:extLst>
              <a:ext uri="{FF2B5EF4-FFF2-40B4-BE49-F238E27FC236}">
                <a16:creationId xmlns:a16="http://schemas.microsoft.com/office/drawing/2014/main" id="{20B8B571-C281-1CDE-8B1A-EB5B40B9BEF0}"/>
              </a:ext>
            </a:extLst>
          </p:cNvPr>
          <p:cNvSpPr/>
          <p:nvPr/>
        </p:nvSpPr>
        <p:spPr>
          <a:xfrm>
            <a:off x="5392319" y="287511"/>
            <a:ext cx="762001" cy="59359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286804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4">
            <a:extLst>
              <a:ext uri="{FF2B5EF4-FFF2-40B4-BE49-F238E27FC236}">
                <a16:creationId xmlns:a16="http://schemas.microsoft.com/office/drawing/2014/main" id="{F5D4CC7D-D65A-8687-7774-90D29CC0CBC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9075" y="2151579"/>
            <a:ext cx="3984329" cy="4352924"/>
          </a:xfrm>
          <a:prstGeom prst="rect">
            <a:avLst/>
          </a:prstGeom>
        </p:spPr>
      </p:pic>
      <p:sp>
        <p:nvSpPr>
          <p:cNvPr id="6" name="Pravá složená závorka 5">
            <a:extLst>
              <a:ext uri="{FF2B5EF4-FFF2-40B4-BE49-F238E27FC236}">
                <a16:creationId xmlns:a16="http://schemas.microsoft.com/office/drawing/2014/main" id="{91C1123E-C643-83C4-E4EB-7CD87D814FE2}"/>
              </a:ext>
            </a:extLst>
          </p:cNvPr>
          <p:cNvSpPr/>
          <p:nvPr/>
        </p:nvSpPr>
        <p:spPr>
          <a:xfrm>
            <a:off x="4324350" y="2785664"/>
            <a:ext cx="276225" cy="9525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5C781696-C76D-2839-7214-208B1F9CE756}"/>
              </a:ext>
            </a:extLst>
          </p:cNvPr>
          <p:cNvSpPr txBox="1"/>
          <p:nvPr/>
        </p:nvSpPr>
        <p:spPr>
          <a:xfrm>
            <a:off x="4701280" y="3077248"/>
            <a:ext cx="1707854" cy="369332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r>
              <a:rPr lang="cs-CZ" b="1" dirty="0"/>
              <a:t>134 PZS (6%)</a:t>
            </a:r>
          </a:p>
        </p:txBody>
      </p:sp>
      <p:sp>
        <p:nvSpPr>
          <p:cNvPr id="8" name="Pravá složená závorka 7">
            <a:extLst>
              <a:ext uri="{FF2B5EF4-FFF2-40B4-BE49-F238E27FC236}">
                <a16:creationId xmlns:a16="http://schemas.microsoft.com/office/drawing/2014/main" id="{9E3EEACC-85E1-E793-7828-E59FA871D13B}"/>
              </a:ext>
            </a:extLst>
          </p:cNvPr>
          <p:cNvSpPr/>
          <p:nvPr/>
        </p:nvSpPr>
        <p:spPr>
          <a:xfrm>
            <a:off x="4324350" y="4798676"/>
            <a:ext cx="276225" cy="132702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CB5799A7-8FBC-8471-CBD8-F673C4A026EB}"/>
              </a:ext>
            </a:extLst>
          </p:cNvPr>
          <p:cNvSpPr txBox="1"/>
          <p:nvPr/>
        </p:nvSpPr>
        <p:spPr>
          <a:xfrm>
            <a:off x="4721521" y="5277522"/>
            <a:ext cx="1707854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r>
              <a:rPr lang="cs-CZ" b="1" dirty="0"/>
              <a:t>607 PZS (28%)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99BF1FC5-7048-AFD2-2886-6BED45E87626}"/>
              </a:ext>
            </a:extLst>
          </p:cNvPr>
          <p:cNvSpPr txBox="1"/>
          <p:nvPr/>
        </p:nvSpPr>
        <p:spPr>
          <a:xfrm>
            <a:off x="5005582" y="3992719"/>
            <a:ext cx="1707854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r>
              <a:rPr lang="cs-CZ" b="1" dirty="0"/>
              <a:t>1 427 PZS (66%)</a:t>
            </a:r>
          </a:p>
        </p:txBody>
      </p:sp>
      <p:sp>
        <p:nvSpPr>
          <p:cNvPr id="11" name="Pravá složená závorka 10">
            <a:extLst>
              <a:ext uri="{FF2B5EF4-FFF2-40B4-BE49-F238E27FC236}">
                <a16:creationId xmlns:a16="http://schemas.microsoft.com/office/drawing/2014/main" id="{E1E3531A-1B91-F012-F466-1F319FEF5386}"/>
              </a:ext>
            </a:extLst>
          </p:cNvPr>
          <p:cNvSpPr/>
          <p:nvPr/>
        </p:nvSpPr>
        <p:spPr>
          <a:xfrm>
            <a:off x="4624387" y="3738164"/>
            <a:ext cx="276225" cy="9525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8A3FDBC1-BCEA-133F-FB1E-A064A646AEF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19075" y="452235"/>
            <a:ext cx="6210300" cy="770861"/>
          </a:xfrm>
        </p:spPr>
        <p:txBody>
          <a:bodyPr>
            <a:noAutofit/>
          </a:bodyPr>
          <a:lstStyle/>
          <a:p>
            <a:r>
              <a:rPr lang="cs-CZ" sz="2800" dirty="0">
                <a:solidFill>
                  <a:srgbClr val="C00000"/>
                </a:solidFill>
              </a:rPr>
              <a:t>Modelový odhad podílu dětí v kapitaci PLDD dle rizikového skóre </a:t>
            </a:r>
            <a:endParaRPr lang="en-US" sz="2800" b="1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12" name="Graf 11">
            <a:extLst>
              <a:ext uri="{FF2B5EF4-FFF2-40B4-BE49-F238E27FC236}">
                <a16:creationId xmlns:a16="http://schemas.microsoft.com/office/drawing/2014/main" id="{E6C7A943-996F-A961-ACAA-6FB02885E29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3306393"/>
              </p:ext>
            </p:extLst>
          </p:nvPr>
        </p:nvGraphicFramePr>
        <p:xfrm>
          <a:off x="7696202" y="913865"/>
          <a:ext cx="3209016" cy="54566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96641594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textu 4">
            <a:extLst>
              <a:ext uri="{FF2B5EF4-FFF2-40B4-BE49-F238E27FC236}">
                <a16:creationId xmlns:a16="http://schemas.microsoft.com/office/drawing/2014/main" id="{85DF8549-49A9-4045-9440-3C137B807487}"/>
              </a:ext>
            </a:extLst>
          </p:cNvPr>
          <p:cNvSpPr txBox="1">
            <a:spLocks/>
          </p:cNvSpPr>
          <p:nvPr/>
        </p:nvSpPr>
        <p:spPr>
          <a:xfrm>
            <a:off x="281651" y="4590003"/>
            <a:ext cx="10002103" cy="1423411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s-CZ" sz="5000" b="1" dirty="0">
                <a:solidFill>
                  <a:srgbClr val="C00000"/>
                </a:solidFill>
              </a:rPr>
              <a:t>ZÁVĚR </a:t>
            </a:r>
          </a:p>
        </p:txBody>
      </p:sp>
    </p:spTree>
    <p:extLst>
      <p:ext uri="{BB962C8B-B14F-4D97-AF65-F5344CB8AC3E}">
        <p14:creationId xmlns:p14="http://schemas.microsoft.com/office/powerpoint/2010/main" val="90153108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380620"/>
            <a:ext cx="12192000" cy="2010987"/>
          </a:xfrm>
        </p:spPr>
        <p:txBody>
          <a:bodyPr>
            <a:noAutofit/>
          </a:bodyPr>
          <a:lstStyle/>
          <a:p>
            <a:pPr algn="ctr"/>
            <a:r>
              <a:rPr lang="cs-CZ" sz="3600" u="sng" dirty="0">
                <a:solidFill>
                  <a:srgbClr val="C00000"/>
                </a:solidFill>
              </a:rPr>
              <a:t>PROBLÉM S DOSTUPNOSTÍ KAPACIT PLDD JE AKUTNÍ</a:t>
            </a:r>
            <a:r>
              <a:rPr lang="cs-CZ" sz="3600" dirty="0">
                <a:solidFill>
                  <a:srgbClr val="C00000"/>
                </a:solidFill>
              </a:rPr>
              <a:t> </a:t>
            </a:r>
            <a:br>
              <a:rPr lang="cs-CZ" sz="3600" dirty="0">
                <a:solidFill>
                  <a:srgbClr val="C00000"/>
                </a:solidFill>
              </a:rPr>
            </a:br>
            <a:br>
              <a:rPr lang="cs-CZ" sz="3600" dirty="0">
                <a:solidFill>
                  <a:srgbClr val="C00000"/>
                </a:solidFill>
              </a:rPr>
            </a:br>
            <a:r>
              <a:rPr lang="cs-CZ" sz="3600" dirty="0">
                <a:solidFill>
                  <a:srgbClr val="C00000"/>
                </a:solidFill>
              </a:rPr>
              <a:t>Plošný audit dat potvrdil prohlubující se problém</a:t>
            </a:r>
            <a:br>
              <a:rPr lang="cs-CZ" sz="3600" dirty="0">
                <a:solidFill>
                  <a:srgbClr val="C00000"/>
                </a:solidFill>
              </a:rPr>
            </a:br>
            <a:r>
              <a:rPr lang="cs-CZ" sz="3600" dirty="0">
                <a:solidFill>
                  <a:srgbClr val="C00000"/>
                </a:solidFill>
              </a:rPr>
              <a:t>s kapacitou praktických lékařů pro děti a dorost. </a:t>
            </a:r>
            <a:br>
              <a:rPr lang="cs-CZ" sz="3600" dirty="0">
                <a:solidFill>
                  <a:srgbClr val="C00000"/>
                </a:solidFill>
              </a:rPr>
            </a:br>
            <a:br>
              <a:rPr lang="cs-CZ" sz="3600" dirty="0">
                <a:solidFill>
                  <a:srgbClr val="C00000"/>
                </a:solidFill>
              </a:rPr>
            </a:br>
            <a:endParaRPr lang="en-US" sz="3600" dirty="0">
              <a:solidFill>
                <a:srgbClr val="C00000"/>
              </a:solidFill>
            </a:endParaRPr>
          </a:p>
        </p:txBody>
      </p:sp>
      <p:sp>
        <p:nvSpPr>
          <p:cNvPr id="2" name="Šipka: dolů 1">
            <a:extLst>
              <a:ext uri="{FF2B5EF4-FFF2-40B4-BE49-F238E27FC236}">
                <a16:creationId xmlns:a16="http://schemas.microsoft.com/office/drawing/2014/main" id="{4897E99D-294F-4D98-8D15-750A53595A64}"/>
              </a:ext>
            </a:extLst>
          </p:cNvPr>
          <p:cNvSpPr/>
          <p:nvPr/>
        </p:nvSpPr>
        <p:spPr>
          <a:xfrm>
            <a:off x="924833" y="2832100"/>
            <a:ext cx="1049564" cy="892027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27ED7D58-55CB-162C-6606-BABEB17CBB1C}"/>
              </a:ext>
            </a:extLst>
          </p:cNvPr>
          <p:cNvSpPr txBox="1"/>
          <p:nvPr/>
        </p:nvSpPr>
        <p:spPr>
          <a:xfrm>
            <a:off x="326571" y="3895725"/>
            <a:ext cx="2943225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íce než 32% aktivních lékařů je ve věku &gt; 65 let, téměř 50% potom ve věku &gt; 60 let. </a:t>
            </a:r>
          </a:p>
        </p:txBody>
      </p:sp>
      <p:sp>
        <p:nvSpPr>
          <p:cNvPr id="5" name="Šipka: dolů 4">
            <a:extLst>
              <a:ext uri="{FF2B5EF4-FFF2-40B4-BE49-F238E27FC236}">
                <a16:creationId xmlns:a16="http://schemas.microsoft.com/office/drawing/2014/main" id="{37B15087-CB43-98EF-2A84-2087D50A68BF}"/>
              </a:ext>
            </a:extLst>
          </p:cNvPr>
          <p:cNvSpPr/>
          <p:nvPr/>
        </p:nvSpPr>
        <p:spPr>
          <a:xfrm>
            <a:off x="5478872" y="3905773"/>
            <a:ext cx="1049564" cy="892027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070D3AA5-8B3F-8F03-59CA-B03F223F7682}"/>
              </a:ext>
            </a:extLst>
          </p:cNvPr>
          <p:cNvSpPr txBox="1"/>
          <p:nvPr/>
        </p:nvSpPr>
        <p:spPr>
          <a:xfrm>
            <a:off x="4492563" y="4969923"/>
            <a:ext cx="308247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íce než 28% ordinací vykazuje nízkou nebo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čase klesající kapacitu. </a:t>
            </a:r>
          </a:p>
        </p:txBody>
      </p:sp>
      <p:sp>
        <p:nvSpPr>
          <p:cNvPr id="7" name="Šipka: dolů 6">
            <a:extLst>
              <a:ext uri="{FF2B5EF4-FFF2-40B4-BE49-F238E27FC236}">
                <a16:creationId xmlns:a16="http://schemas.microsoft.com/office/drawing/2014/main" id="{1AFB6B00-3EBB-3280-EEC6-B2BBC97D72FD}"/>
              </a:ext>
            </a:extLst>
          </p:cNvPr>
          <p:cNvSpPr/>
          <p:nvPr/>
        </p:nvSpPr>
        <p:spPr>
          <a:xfrm>
            <a:off x="9961430" y="2832099"/>
            <a:ext cx="1049564" cy="892027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E27C53F7-D925-9A81-CC40-4E9D7FC7F5C6}"/>
              </a:ext>
            </a:extLst>
          </p:cNvPr>
          <p:cNvSpPr txBox="1"/>
          <p:nvPr/>
        </p:nvSpPr>
        <p:spPr>
          <a:xfrm>
            <a:off x="8115620" y="3895725"/>
            <a:ext cx="3842205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ca 182 tis. dětí nemá vykázanou kapitaci u PLDD, dalších cca 90 tis. je vykázáno v péči PL (včetně UA uprchlíků) 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318F94AE-2824-6484-4A5E-9E20F82EA075}"/>
              </a:ext>
            </a:extLst>
          </p:cNvPr>
          <p:cNvSpPr txBox="1"/>
          <p:nvPr/>
        </p:nvSpPr>
        <p:spPr>
          <a:xfrm>
            <a:off x="326571" y="5357663"/>
            <a:ext cx="2943224" cy="646331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bg1"/>
                </a:solidFill>
              </a:rPr>
              <a:t>Odchodem je ohroženo </a:t>
            </a:r>
          </a:p>
          <a:p>
            <a:r>
              <a:rPr lang="cs-CZ" b="1" dirty="0">
                <a:solidFill>
                  <a:schemeClr val="bg1"/>
                </a:solidFill>
              </a:rPr>
              <a:t>700 – 900 úvazků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BD35C181-A614-2743-7AA6-8E42837FF69B}"/>
              </a:ext>
            </a:extLst>
          </p:cNvPr>
          <p:cNvSpPr txBox="1"/>
          <p:nvPr/>
        </p:nvSpPr>
        <p:spPr>
          <a:xfrm>
            <a:off x="4210182" y="6077919"/>
            <a:ext cx="3546751" cy="646331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b="1" dirty="0">
                <a:solidFill>
                  <a:schemeClr val="bg1"/>
                </a:solidFill>
              </a:rPr>
              <a:t>2018 – 2022: proběhla změna poskytovate u &gt; 330 000 dětí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EF982BE3-92B0-6717-4D9E-FB2A64ED77DE}"/>
              </a:ext>
            </a:extLst>
          </p:cNvPr>
          <p:cNvSpPr txBox="1"/>
          <p:nvPr/>
        </p:nvSpPr>
        <p:spPr>
          <a:xfrm>
            <a:off x="8792802" y="5317258"/>
            <a:ext cx="3082470" cy="646331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b="1" dirty="0">
                <a:solidFill>
                  <a:schemeClr val="bg1"/>
                </a:solidFill>
              </a:rPr>
              <a:t>Problém s dostupností péče má cca 18% populace dětí</a:t>
            </a:r>
            <a:endParaRPr 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381925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5C0DAE3-2B75-C32B-6714-254CFCF32BC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91666" y="160257"/>
            <a:ext cx="10515600" cy="631595"/>
          </a:xfrm>
        </p:spPr>
        <p:txBody>
          <a:bodyPr/>
          <a:lstStyle/>
          <a:p>
            <a:pPr algn="ctr"/>
            <a:r>
              <a:rPr lang="cs-CZ" dirty="0"/>
              <a:t>Rozložení rizika není mezi regiony rovnoměrné </a:t>
            </a: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B7C6B96-E87B-A3CE-2EB9-F074FCAAAD91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42753" y="1554694"/>
            <a:ext cx="8659433" cy="5408081"/>
          </a:xfrm>
          <a:prstGeom prst="rect">
            <a:avLst/>
          </a:prstGeom>
        </p:spPr>
      </p:pic>
      <p:sp>
        <p:nvSpPr>
          <p:cNvPr id="3" name="TextovéPole 2">
            <a:extLst>
              <a:ext uri="{FF2B5EF4-FFF2-40B4-BE49-F238E27FC236}">
                <a16:creationId xmlns:a16="http://schemas.microsoft.com/office/drawing/2014/main" id="{2E5792B5-277B-DA88-C516-AEDD4C6F97FF}"/>
              </a:ext>
            </a:extLst>
          </p:cNvPr>
          <p:cNvSpPr txBox="1"/>
          <p:nvPr/>
        </p:nvSpPr>
        <p:spPr>
          <a:xfrm>
            <a:off x="253136" y="1044689"/>
            <a:ext cx="478559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íl dětské populace v riziku ztráty péče PLDD (děti bez vykázané kapitace PLDD nebo v péči ordinace s rizikově ohroženou kapacitou)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6606454C-4310-F1F4-5378-1F0F4BCCF675}"/>
              </a:ext>
            </a:extLst>
          </p:cNvPr>
          <p:cNvSpPr txBox="1"/>
          <p:nvPr/>
        </p:nvSpPr>
        <p:spPr>
          <a:xfrm>
            <a:off x="8343900" y="1225039"/>
            <a:ext cx="335828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% populace dětí 0 – 19 let</a:t>
            </a:r>
          </a:p>
        </p:txBody>
      </p:sp>
    </p:spTree>
    <p:extLst>
      <p:ext uri="{BB962C8B-B14F-4D97-AF65-F5344CB8AC3E}">
        <p14:creationId xmlns:p14="http://schemas.microsoft.com/office/powerpoint/2010/main" val="19163502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1349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380620"/>
            <a:ext cx="12192000" cy="2010987"/>
          </a:xfrm>
        </p:spPr>
        <p:txBody>
          <a:bodyPr>
            <a:noAutofit/>
          </a:bodyPr>
          <a:lstStyle/>
          <a:p>
            <a:pPr algn="ctr"/>
            <a:r>
              <a:rPr lang="cs-CZ" sz="3600" u="sng" dirty="0">
                <a:solidFill>
                  <a:srgbClr val="C00000"/>
                </a:solidFill>
              </a:rPr>
              <a:t>V následujících 5 – 7 letech hrozí odchod 700 – 900 PLDD do důchodu a již nyní chybí kapitační péče u cca 180 tis. dětí</a:t>
            </a:r>
            <a:br>
              <a:rPr lang="cs-CZ" sz="3600" u="sng" dirty="0">
                <a:solidFill>
                  <a:srgbClr val="C00000"/>
                </a:solidFill>
              </a:rPr>
            </a:br>
            <a:r>
              <a:rPr lang="cs-CZ" sz="3600" u="sng" dirty="0">
                <a:solidFill>
                  <a:srgbClr val="C00000"/>
                </a:solidFill>
              </a:rPr>
              <a:t> </a:t>
            </a:r>
            <a:br>
              <a:rPr lang="cs-CZ" sz="3600" dirty="0">
                <a:solidFill>
                  <a:srgbClr val="C00000"/>
                </a:solidFill>
              </a:rPr>
            </a:br>
            <a:r>
              <a:rPr lang="cs-CZ" sz="3600" dirty="0">
                <a:solidFill>
                  <a:srgbClr val="FF0000"/>
                </a:solidFill>
              </a:rPr>
              <a:t>Řešení pro urychlené získání až 1 000 lékařů PLDD?</a:t>
            </a:r>
            <a:br>
              <a:rPr lang="cs-CZ" sz="3600" dirty="0">
                <a:solidFill>
                  <a:srgbClr val="FF0000"/>
                </a:solidFill>
              </a:rPr>
            </a:br>
            <a:endParaRPr lang="en-US" sz="3600" dirty="0">
              <a:solidFill>
                <a:srgbClr val="FF0000"/>
              </a:solidFill>
            </a:endParaRPr>
          </a:p>
        </p:txBody>
      </p:sp>
      <p:sp>
        <p:nvSpPr>
          <p:cNvPr id="2" name="Šipka: dolů 1">
            <a:extLst>
              <a:ext uri="{FF2B5EF4-FFF2-40B4-BE49-F238E27FC236}">
                <a16:creationId xmlns:a16="http://schemas.microsoft.com/office/drawing/2014/main" id="{4897E99D-294F-4D98-8D15-750A53595A64}"/>
              </a:ext>
            </a:extLst>
          </p:cNvPr>
          <p:cNvSpPr/>
          <p:nvPr/>
        </p:nvSpPr>
        <p:spPr>
          <a:xfrm>
            <a:off x="798286" y="2822575"/>
            <a:ext cx="1049564" cy="892027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27ED7D58-55CB-162C-6606-BABEB17CBB1C}"/>
              </a:ext>
            </a:extLst>
          </p:cNvPr>
          <p:cNvSpPr txBox="1"/>
          <p:nvPr/>
        </p:nvSpPr>
        <p:spPr>
          <a:xfrm>
            <a:off x="200024" y="3886200"/>
            <a:ext cx="294322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DUKCE VZDĚLÁVACÍHO SYSTÉMU</a:t>
            </a:r>
          </a:p>
        </p:txBody>
      </p:sp>
      <p:sp>
        <p:nvSpPr>
          <p:cNvPr id="5" name="Šipka: dolů 4">
            <a:extLst>
              <a:ext uri="{FF2B5EF4-FFF2-40B4-BE49-F238E27FC236}">
                <a16:creationId xmlns:a16="http://schemas.microsoft.com/office/drawing/2014/main" id="{37B15087-CB43-98EF-2A84-2087D50A68BF}"/>
              </a:ext>
            </a:extLst>
          </p:cNvPr>
          <p:cNvSpPr/>
          <p:nvPr/>
        </p:nvSpPr>
        <p:spPr>
          <a:xfrm>
            <a:off x="5212386" y="3886200"/>
            <a:ext cx="1049564" cy="892027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070D3AA5-8B3F-8F03-59CA-B03F223F7682}"/>
              </a:ext>
            </a:extLst>
          </p:cNvPr>
          <p:cNvSpPr txBox="1"/>
          <p:nvPr/>
        </p:nvSpPr>
        <p:spPr>
          <a:xfrm>
            <a:off x="3936943" y="4912250"/>
            <a:ext cx="360044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RE)DISTRIBUCE PÉČE V STÁVAJÍCÍ SÍTI PLDD</a:t>
            </a:r>
          </a:p>
        </p:txBody>
      </p:sp>
      <p:sp>
        <p:nvSpPr>
          <p:cNvPr id="7" name="Šipka: dolů 6">
            <a:extLst>
              <a:ext uri="{FF2B5EF4-FFF2-40B4-BE49-F238E27FC236}">
                <a16:creationId xmlns:a16="http://schemas.microsoft.com/office/drawing/2014/main" id="{1AFB6B00-3EBB-3280-EEC6-B2BBC97D72FD}"/>
              </a:ext>
            </a:extLst>
          </p:cNvPr>
          <p:cNvSpPr/>
          <p:nvPr/>
        </p:nvSpPr>
        <p:spPr>
          <a:xfrm>
            <a:off x="10131311" y="2822574"/>
            <a:ext cx="1049564" cy="892027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E27C53F7-D925-9A81-CC40-4E9D7FC7F5C6}"/>
              </a:ext>
            </a:extLst>
          </p:cNvPr>
          <p:cNvSpPr txBox="1"/>
          <p:nvPr/>
        </p:nvSpPr>
        <p:spPr>
          <a:xfrm>
            <a:off x="8331087" y="3886200"/>
            <a:ext cx="360044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ÉČI SI PŘEVEZMOU JINÉ SEGMENTY ZS: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MOCNICE, PL 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77E6BE2F-8D29-B5CD-5D3D-39F0A99C698B}"/>
              </a:ext>
            </a:extLst>
          </p:cNvPr>
          <p:cNvSpPr txBox="1"/>
          <p:nvPr/>
        </p:nvSpPr>
        <p:spPr>
          <a:xfrm>
            <a:off x="645886" y="5363528"/>
            <a:ext cx="120196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?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46494A39-B525-42EB-E8EF-368DDDBD710B}"/>
              </a:ext>
            </a:extLst>
          </p:cNvPr>
          <p:cNvSpPr txBox="1"/>
          <p:nvPr/>
        </p:nvSpPr>
        <p:spPr>
          <a:xfrm>
            <a:off x="5216411" y="5725400"/>
            <a:ext cx="120196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?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276E93BA-8CF4-D604-ACE6-EEF32137B815}"/>
              </a:ext>
            </a:extLst>
          </p:cNvPr>
          <p:cNvSpPr txBox="1"/>
          <p:nvPr/>
        </p:nvSpPr>
        <p:spPr>
          <a:xfrm>
            <a:off x="10055111" y="5228661"/>
            <a:ext cx="120196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78281084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ovéPole 3">
            <a:extLst>
              <a:ext uri="{FF2B5EF4-FFF2-40B4-BE49-F238E27FC236}">
                <a16:creationId xmlns:a16="http://schemas.microsoft.com/office/drawing/2014/main" id="{27ED7D58-55CB-162C-6606-BABEB17CBB1C}"/>
              </a:ext>
            </a:extLst>
          </p:cNvPr>
          <p:cNvSpPr txBox="1"/>
          <p:nvPr/>
        </p:nvSpPr>
        <p:spPr>
          <a:xfrm>
            <a:off x="433387" y="2788742"/>
            <a:ext cx="294322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DUKCE VZDĚLÁVACÍHO SYSTÉMU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64CFEA55-BADD-B818-9FEB-B85A5FF74963}"/>
              </a:ext>
            </a:extLst>
          </p:cNvPr>
          <p:cNvSpPr txBox="1"/>
          <p:nvPr/>
        </p:nvSpPr>
        <p:spPr>
          <a:xfrm>
            <a:off x="5310187" y="191274"/>
            <a:ext cx="6253163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or PEDIATRIE významně navyšuje počty studujících a při ročním náběru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&gt; 250 - 300 studentů by mohl mít potenciál do cca 7 – 8 let kapacity doplnit. </a:t>
            </a:r>
          </a:p>
        </p:txBody>
      </p:sp>
      <p:cxnSp>
        <p:nvCxnSpPr>
          <p:cNvPr id="16" name="Přímá spojnice se šipkou 15">
            <a:extLst>
              <a:ext uri="{FF2B5EF4-FFF2-40B4-BE49-F238E27FC236}">
                <a16:creationId xmlns:a16="http://schemas.microsoft.com/office/drawing/2014/main" id="{2D5E2DB7-96E8-B32A-5F14-7253638DC905}"/>
              </a:ext>
            </a:extLst>
          </p:cNvPr>
          <p:cNvCxnSpPr>
            <a:cxnSpLocks/>
          </p:cNvCxnSpPr>
          <p:nvPr/>
        </p:nvCxnSpPr>
        <p:spPr>
          <a:xfrm flipV="1">
            <a:off x="3171825" y="1266826"/>
            <a:ext cx="1924050" cy="132510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Přímá spojnice se šipkou 16">
            <a:extLst>
              <a:ext uri="{FF2B5EF4-FFF2-40B4-BE49-F238E27FC236}">
                <a16:creationId xmlns:a16="http://schemas.microsoft.com/office/drawing/2014/main" id="{F87C42FC-85D5-92AC-E523-4025F3F415C6}"/>
              </a:ext>
            </a:extLst>
          </p:cNvPr>
          <p:cNvCxnSpPr>
            <a:cxnSpLocks/>
          </p:cNvCxnSpPr>
          <p:nvPr/>
        </p:nvCxnSpPr>
        <p:spPr>
          <a:xfrm>
            <a:off x="3171825" y="4058781"/>
            <a:ext cx="1924050" cy="15323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689B0AF7-C79E-E5F6-CD98-0D44FB14E140}"/>
              </a:ext>
            </a:extLst>
          </p:cNvPr>
          <p:cNvSpPr txBox="1"/>
          <p:nvPr/>
        </p:nvSpPr>
        <p:spPr>
          <a:xfrm>
            <a:off x="5395911" y="4390846"/>
            <a:ext cx="6081713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však, více než polovina nových absolventů míří ve zdravotnictví mimo segment PLDD a problematický je i nízký zájem mladých lékařů o okrajové regiony republiky.</a:t>
            </a:r>
          </a:p>
        </p:txBody>
      </p:sp>
    </p:spTree>
    <p:extLst>
      <p:ext uri="{BB962C8B-B14F-4D97-AF65-F5344CB8AC3E}">
        <p14:creationId xmlns:p14="http://schemas.microsoft.com/office/powerpoint/2010/main" val="56921728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ovéPole 13">
            <a:extLst>
              <a:ext uri="{FF2B5EF4-FFF2-40B4-BE49-F238E27FC236}">
                <a16:creationId xmlns:a16="http://schemas.microsoft.com/office/drawing/2014/main" id="{64CFEA55-BADD-B818-9FEB-B85A5FF74963}"/>
              </a:ext>
            </a:extLst>
          </p:cNvPr>
          <p:cNvSpPr txBox="1"/>
          <p:nvPr/>
        </p:nvSpPr>
        <p:spPr>
          <a:xfrm>
            <a:off x="5310187" y="191274"/>
            <a:ext cx="6621348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 stávající síti PLDD existuje částečný potenciál k navýšení kapacit (odhadem počet kapitací + 153 tis. dětí; při zásadním a plošném navýšení až + 450 tis. dětí). Síť PLDD také již převzala péči o téměř 300tis. dětí ze zrušených ordinací v uplynulých 5 letech. </a:t>
            </a:r>
          </a:p>
        </p:txBody>
      </p:sp>
      <p:cxnSp>
        <p:nvCxnSpPr>
          <p:cNvPr id="16" name="Přímá spojnice se šipkou 15">
            <a:extLst>
              <a:ext uri="{FF2B5EF4-FFF2-40B4-BE49-F238E27FC236}">
                <a16:creationId xmlns:a16="http://schemas.microsoft.com/office/drawing/2014/main" id="{2D5E2DB7-96E8-B32A-5F14-7253638DC905}"/>
              </a:ext>
            </a:extLst>
          </p:cNvPr>
          <p:cNvCxnSpPr>
            <a:cxnSpLocks/>
          </p:cNvCxnSpPr>
          <p:nvPr/>
        </p:nvCxnSpPr>
        <p:spPr>
          <a:xfrm flipV="1">
            <a:off x="3171825" y="1266826"/>
            <a:ext cx="1924050" cy="132510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Přímá spojnice se šipkou 16">
            <a:extLst>
              <a:ext uri="{FF2B5EF4-FFF2-40B4-BE49-F238E27FC236}">
                <a16:creationId xmlns:a16="http://schemas.microsoft.com/office/drawing/2014/main" id="{F87C42FC-85D5-92AC-E523-4025F3F415C6}"/>
              </a:ext>
            </a:extLst>
          </p:cNvPr>
          <p:cNvCxnSpPr>
            <a:cxnSpLocks/>
          </p:cNvCxnSpPr>
          <p:nvPr/>
        </p:nvCxnSpPr>
        <p:spPr>
          <a:xfrm>
            <a:off x="3171825" y="4058781"/>
            <a:ext cx="1924050" cy="15323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689B0AF7-C79E-E5F6-CD98-0D44FB14E140}"/>
              </a:ext>
            </a:extLst>
          </p:cNvPr>
          <p:cNvSpPr txBox="1"/>
          <p:nvPr/>
        </p:nvSpPr>
        <p:spPr>
          <a:xfrm>
            <a:off x="5395911" y="4390846"/>
            <a:ext cx="6535624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to řešení je pouze dočasné a potenciál k navýšení kapacit je jen odhadem z dat, která nejsou úplná (není znám zdravotní stav lékařů, důvody omezované kapacity, kapacita navýšit počty dětí, ….).  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E56D50FC-C8FC-2256-AA29-45A42E298367}"/>
              </a:ext>
            </a:extLst>
          </p:cNvPr>
          <p:cNvSpPr txBox="1"/>
          <p:nvPr/>
        </p:nvSpPr>
        <p:spPr>
          <a:xfrm>
            <a:off x="260465" y="2844968"/>
            <a:ext cx="360044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RE)DISTRIBUCE PÉČE V STÁVAJÍCÍ SÍTI PLDD</a:t>
            </a:r>
          </a:p>
        </p:txBody>
      </p:sp>
    </p:spTree>
    <p:extLst>
      <p:ext uri="{BB962C8B-B14F-4D97-AF65-F5344CB8AC3E}">
        <p14:creationId xmlns:p14="http://schemas.microsoft.com/office/powerpoint/2010/main" val="418108815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ovéPole 13">
            <a:extLst>
              <a:ext uri="{FF2B5EF4-FFF2-40B4-BE49-F238E27FC236}">
                <a16:creationId xmlns:a16="http://schemas.microsoft.com/office/drawing/2014/main" id="{64CFEA55-BADD-B818-9FEB-B85A5FF74963}"/>
              </a:ext>
            </a:extLst>
          </p:cNvPr>
          <p:cNvSpPr txBox="1"/>
          <p:nvPr/>
        </p:nvSpPr>
        <p:spPr>
          <a:xfrm>
            <a:off x="5310186" y="191274"/>
            <a:ext cx="6705601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 pediatrických oddělení nemocnic existuje volná kapacita a při průměrné obložnosti cca 38% jde o síť velmi hustou a relativně regionálně dostupnou. I při aplikaci současné personální vyhlášky existuje prostor pro uvolnění 90 – 400 úvazků pediatrů pro ambulantní péči. </a:t>
            </a:r>
          </a:p>
        </p:txBody>
      </p:sp>
      <p:cxnSp>
        <p:nvCxnSpPr>
          <p:cNvPr id="16" name="Přímá spojnice se šipkou 15">
            <a:extLst>
              <a:ext uri="{FF2B5EF4-FFF2-40B4-BE49-F238E27FC236}">
                <a16:creationId xmlns:a16="http://schemas.microsoft.com/office/drawing/2014/main" id="{2D5E2DB7-96E8-B32A-5F14-7253638DC905}"/>
              </a:ext>
            </a:extLst>
          </p:cNvPr>
          <p:cNvCxnSpPr>
            <a:cxnSpLocks/>
          </p:cNvCxnSpPr>
          <p:nvPr/>
        </p:nvCxnSpPr>
        <p:spPr>
          <a:xfrm flipV="1">
            <a:off x="3171825" y="1266826"/>
            <a:ext cx="1924050" cy="132510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Přímá spojnice se šipkou 16">
            <a:extLst>
              <a:ext uri="{FF2B5EF4-FFF2-40B4-BE49-F238E27FC236}">
                <a16:creationId xmlns:a16="http://schemas.microsoft.com/office/drawing/2014/main" id="{F87C42FC-85D5-92AC-E523-4025F3F415C6}"/>
              </a:ext>
            </a:extLst>
          </p:cNvPr>
          <p:cNvCxnSpPr>
            <a:cxnSpLocks/>
          </p:cNvCxnSpPr>
          <p:nvPr/>
        </p:nvCxnSpPr>
        <p:spPr>
          <a:xfrm>
            <a:off x="3171825" y="4058781"/>
            <a:ext cx="1924050" cy="15323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689B0AF7-C79E-E5F6-CD98-0D44FB14E140}"/>
              </a:ext>
            </a:extLst>
          </p:cNvPr>
          <p:cNvSpPr txBox="1"/>
          <p:nvPr/>
        </p:nvSpPr>
        <p:spPr>
          <a:xfrm>
            <a:off x="5395911" y="4390846"/>
            <a:ext cx="6705601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to řešení vyžaduje zásadní restrukturalizační rozhodnutí a umožnění registrace dětí při pediatrických odděleních nemocnic. Zátěž nemocnic je nadto značně rozdílná. 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E9BF4F20-AB8D-3731-FD7A-CF6246222EF8}"/>
              </a:ext>
            </a:extLst>
          </p:cNvPr>
          <p:cNvSpPr txBox="1"/>
          <p:nvPr/>
        </p:nvSpPr>
        <p:spPr>
          <a:xfrm>
            <a:off x="176212" y="2690336"/>
            <a:ext cx="360044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ÉČI SI PŘEVEZMOU JINÉ SEGMENTY Z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MOCNICE, PL </a:t>
            </a:r>
          </a:p>
        </p:txBody>
      </p:sp>
    </p:spTree>
    <p:extLst>
      <p:ext uri="{BB962C8B-B14F-4D97-AF65-F5344CB8AC3E}">
        <p14:creationId xmlns:p14="http://schemas.microsoft.com/office/powerpoint/2010/main" val="19478783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DAFF5B62-6118-A988-2986-B4C8D2D1DF3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914279"/>
            <a:ext cx="12192000" cy="1477328"/>
          </a:xfrm>
        </p:spPr>
        <p:txBody>
          <a:bodyPr>
            <a:noAutofit/>
          </a:bodyPr>
          <a:lstStyle/>
          <a:p>
            <a:pPr algn="ctr"/>
            <a:r>
              <a:rPr lang="cs-CZ" sz="3600" dirty="0">
                <a:solidFill>
                  <a:srgbClr val="FF0000"/>
                </a:solidFill>
              </a:rPr>
              <a:t>Řešení pro urychlené získání až 1 000 lékařů PLDD?</a:t>
            </a:r>
            <a:br>
              <a:rPr lang="cs-CZ" sz="3600" dirty="0">
                <a:solidFill>
                  <a:srgbClr val="FF0000"/>
                </a:solidFill>
              </a:rPr>
            </a:br>
            <a:endParaRPr lang="en-US" sz="3600" dirty="0">
              <a:solidFill>
                <a:srgbClr val="FF0000"/>
              </a:solidFill>
            </a:endParaRPr>
          </a:p>
        </p:txBody>
      </p:sp>
      <p:sp>
        <p:nvSpPr>
          <p:cNvPr id="3" name="Šipka: dolů 2">
            <a:extLst>
              <a:ext uri="{FF2B5EF4-FFF2-40B4-BE49-F238E27FC236}">
                <a16:creationId xmlns:a16="http://schemas.microsoft.com/office/drawing/2014/main" id="{C3D3D388-3809-4EE6-DFCD-C666AC3212E1}"/>
              </a:ext>
            </a:extLst>
          </p:cNvPr>
          <p:cNvSpPr/>
          <p:nvPr/>
        </p:nvSpPr>
        <p:spPr>
          <a:xfrm>
            <a:off x="798286" y="2270125"/>
            <a:ext cx="1049564" cy="892027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E3E9C9E8-F52A-CA04-72CA-5C8995B681A8}"/>
              </a:ext>
            </a:extLst>
          </p:cNvPr>
          <p:cNvSpPr txBox="1"/>
          <p:nvPr/>
        </p:nvSpPr>
        <p:spPr>
          <a:xfrm>
            <a:off x="200024" y="3333750"/>
            <a:ext cx="294322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DUKCE VZDĚLÁVACÍHO SYSTÉMU</a:t>
            </a:r>
          </a:p>
        </p:txBody>
      </p:sp>
      <p:sp>
        <p:nvSpPr>
          <p:cNvPr id="7" name="Šipka: dolů 6">
            <a:extLst>
              <a:ext uri="{FF2B5EF4-FFF2-40B4-BE49-F238E27FC236}">
                <a16:creationId xmlns:a16="http://schemas.microsoft.com/office/drawing/2014/main" id="{35419099-6270-9714-11BD-05DCB7B13EC0}"/>
              </a:ext>
            </a:extLst>
          </p:cNvPr>
          <p:cNvSpPr/>
          <p:nvPr/>
        </p:nvSpPr>
        <p:spPr>
          <a:xfrm>
            <a:off x="5212386" y="3333750"/>
            <a:ext cx="1049564" cy="892027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B352F35F-838D-5D6A-1344-5E70066E5996}"/>
              </a:ext>
            </a:extLst>
          </p:cNvPr>
          <p:cNvSpPr txBox="1"/>
          <p:nvPr/>
        </p:nvSpPr>
        <p:spPr>
          <a:xfrm>
            <a:off x="3936943" y="4359800"/>
            <a:ext cx="360044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RE)DISTRIBUCE PÉČE V STÁVAJÍCÍ SÍTI PLDD</a:t>
            </a:r>
          </a:p>
        </p:txBody>
      </p:sp>
      <p:sp>
        <p:nvSpPr>
          <p:cNvPr id="10" name="Šipka: dolů 9">
            <a:extLst>
              <a:ext uri="{FF2B5EF4-FFF2-40B4-BE49-F238E27FC236}">
                <a16:creationId xmlns:a16="http://schemas.microsoft.com/office/drawing/2014/main" id="{CAD03B02-00FB-BC49-D352-F79312CD9418}"/>
              </a:ext>
            </a:extLst>
          </p:cNvPr>
          <p:cNvSpPr/>
          <p:nvPr/>
        </p:nvSpPr>
        <p:spPr>
          <a:xfrm>
            <a:off x="10131311" y="2270125"/>
            <a:ext cx="1049564" cy="892027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6D878265-DBF0-C106-C80A-2D03CE841B7A}"/>
              </a:ext>
            </a:extLst>
          </p:cNvPr>
          <p:cNvSpPr txBox="1"/>
          <p:nvPr/>
        </p:nvSpPr>
        <p:spPr>
          <a:xfrm>
            <a:off x="8332903" y="3333750"/>
            <a:ext cx="360044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ÉČI SI PŘEVEZMOU JINÉ SEGMENTY ZS: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MOCNICE, PL 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595058F0-0A6C-E6BC-9505-48444071242E}"/>
              </a:ext>
            </a:extLst>
          </p:cNvPr>
          <p:cNvSpPr txBox="1"/>
          <p:nvPr/>
        </p:nvSpPr>
        <p:spPr>
          <a:xfrm>
            <a:off x="645886" y="4811078"/>
            <a:ext cx="120196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?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40A1579C-479D-57C3-C074-E6D4A68E79EB}"/>
              </a:ext>
            </a:extLst>
          </p:cNvPr>
          <p:cNvSpPr txBox="1"/>
          <p:nvPr/>
        </p:nvSpPr>
        <p:spPr>
          <a:xfrm>
            <a:off x="10055111" y="4811077"/>
            <a:ext cx="120196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?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E4FAB65E-0391-6830-9D25-F4695AB7A6E0}"/>
              </a:ext>
            </a:extLst>
          </p:cNvPr>
          <p:cNvSpPr txBox="1"/>
          <p:nvPr/>
        </p:nvSpPr>
        <p:spPr>
          <a:xfrm>
            <a:off x="5136185" y="5472796"/>
            <a:ext cx="120196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99466754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DAFF5B62-6118-A988-2986-B4C8D2D1DF3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914279"/>
            <a:ext cx="12192000" cy="1477328"/>
          </a:xfrm>
        </p:spPr>
        <p:txBody>
          <a:bodyPr>
            <a:noAutofit/>
          </a:bodyPr>
          <a:lstStyle/>
          <a:p>
            <a:pPr algn="ctr"/>
            <a:r>
              <a:rPr lang="cs-CZ" sz="3600" dirty="0">
                <a:solidFill>
                  <a:srgbClr val="FF0000"/>
                </a:solidFill>
              </a:rPr>
              <a:t>Řešení pro urychlené získání až 1 000 lékařů PLDD?</a:t>
            </a:r>
            <a:br>
              <a:rPr lang="cs-CZ" sz="3600" dirty="0">
                <a:solidFill>
                  <a:srgbClr val="FF0000"/>
                </a:solidFill>
              </a:rPr>
            </a:br>
            <a:endParaRPr lang="en-US" sz="3600" dirty="0">
              <a:solidFill>
                <a:srgbClr val="FF0000"/>
              </a:solidFill>
            </a:endParaRPr>
          </a:p>
        </p:txBody>
      </p:sp>
      <p:sp>
        <p:nvSpPr>
          <p:cNvPr id="3" name="Šipka: dolů 2">
            <a:extLst>
              <a:ext uri="{FF2B5EF4-FFF2-40B4-BE49-F238E27FC236}">
                <a16:creationId xmlns:a16="http://schemas.microsoft.com/office/drawing/2014/main" id="{C3D3D388-3809-4EE6-DFCD-C666AC3212E1}"/>
              </a:ext>
            </a:extLst>
          </p:cNvPr>
          <p:cNvSpPr/>
          <p:nvPr/>
        </p:nvSpPr>
        <p:spPr>
          <a:xfrm>
            <a:off x="798286" y="2270125"/>
            <a:ext cx="1049564" cy="892027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E3E9C9E8-F52A-CA04-72CA-5C8995B681A8}"/>
              </a:ext>
            </a:extLst>
          </p:cNvPr>
          <p:cNvSpPr txBox="1"/>
          <p:nvPr/>
        </p:nvSpPr>
        <p:spPr>
          <a:xfrm>
            <a:off x="200024" y="3333750"/>
            <a:ext cx="294322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DUKCE VZDĚLÁVACÍHO SYSTÉMU</a:t>
            </a:r>
          </a:p>
        </p:txBody>
      </p:sp>
      <p:sp>
        <p:nvSpPr>
          <p:cNvPr id="7" name="Šipka: dolů 6">
            <a:extLst>
              <a:ext uri="{FF2B5EF4-FFF2-40B4-BE49-F238E27FC236}">
                <a16:creationId xmlns:a16="http://schemas.microsoft.com/office/drawing/2014/main" id="{35419099-6270-9714-11BD-05DCB7B13EC0}"/>
              </a:ext>
            </a:extLst>
          </p:cNvPr>
          <p:cNvSpPr/>
          <p:nvPr/>
        </p:nvSpPr>
        <p:spPr>
          <a:xfrm>
            <a:off x="5212386" y="3333750"/>
            <a:ext cx="1049564" cy="892027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B352F35F-838D-5D6A-1344-5E70066E5996}"/>
              </a:ext>
            </a:extLst>
          </p:cNvPr>
          <p:cNvSpPr txBox="1"/>
          <p:nvPr/>
        </p:nvSpPr>
        <p:spPr>
          <a:xfrm>
            <a:off x="3936943" y="4359800"/>
            <a:ext cx="360044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RE)DISTRIBUCE PÉČE V STÁVAJÍCÍ SÍTI PLDD</a:t>
            </a:r>
          </a:p>
        </p:txBody>
      </p:sp>
      <p:sp>
        <p:nvSpPr>
          <p:cNvPr id="10" name="Šipka: dolů 9">
            <a:extLst>
              <a:ext uri="{FF2B5EF4-FFF2-40B4-BE49-F238E27FC236}">
                <a16:creationId xmlns:a16="http://schemas.microsoft.com/office/drawing/2014/main" id="{CAD03B02-00FB-BC49-D352-F79312CD9418}"/>
              </a:ext>
            </a:extLst>
          </p:cNvPr>
          <p:cNvSpPr/>
          <p:nvPr/>
        </p:nvSpPr>
        <p:spPr>
          <a:xfrm>
            <a:off x="10131311" y="2270125"/>
            <a:ext cx="1049564" cy="892027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6D878265-DBF0-C106-C80A-2D03CE841B7A}"/>
              </a:ext>
            </a:extLst>
          </p:cNvPr>
          <p:cNvSpPr txBox="1"/>
          <p:nvPr/>
        </p:nvSpPr>
        <p:spPr>
          <a:xfrm>
            <a:off x="8332903" y="3333750"/>
            <a:ext cx="360044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ÉČI SI PŘEVEZMOU JINÉ SEGMENTY ZS: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MOCNICE, PL 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595058F0-0A6C-E6BC-9505-48444071242E}"/>
              </a:ext>
            </a:extLst>
          </p:cNvPr>
          <p:cNvSpPr txBox="1"/>
          <p:nvPr/>
        </p:nvSpPr>
        <p:spPr>
          <a:xfrm>
            <a:off x="645886" y="4811078"/>
            <a:ext cx="120196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?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40A1579C-479D-57C3-C074-E6D4A68E79EB}"/>
              </a:ext>
            </a:extLst>
          </p:cNvPr>
          <p:cNvSpPr txBox="1"/>
          <p:nvPr/>
        </p:nvSpPr>
        <p:spPr>
          <a:xfrm>
            <a:off x="10055111" y="4811077"/>
            <a:ext cx="120196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?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E4FAB65E-0391-6830-9D25-F4695AB7A6E0}"/>
              </a:ext>
            </a:extLst>
          </p:cNvPr>
          <p:cNvSpPr txBox="1"/>
          <p:nvPr/>
        </p:nvSpPr>
        <p:spPr>
          <a:xfrm>
            <a:off x="5136185" y="5472796"/>
            <a:ext cx="120196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?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5D2C6592-8FDB-FF3C-5CEB-36B53003B5E7}"/>
              </a:ext>
            </a:extLst>
          </p:cNvPr>
          <p:cNvSpPr txBox="1"/>
          <p:nvPr/>
        </p:nvSpPr>
        <p:spPr>
          <a:xfrm rot="20730639">
            <a:off x="501167" y="2453351"/>
            <a:ext cx="10506075" cy="2308324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jpravděpodobnější je a bude zapojení všech tří cest, vždy s respektem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 regionálně specifické situaci </a:t>
            </a:r>
          </a:p>
        </p:txBody>
      </p:sp>
      <p:sp>
        <p:nvSpPr>
          <p:cNvPr id="17" name="Šipka: dolů 16">
            <a:extLst>
              <a:ext uri="{FF2B5EF4-FFF2-40B4-BE49-F238E27FC236}">
                <a16:creationId xmlns:a16="http://schemas.microsoft.com/office/drawing/2014/main" id="{BFBD4390-3085-6489-294B-CFEC4DDE36A1}"/>
              </a:ext>
            </a:extLst>
          </p:cNvPr>
          <p:cNvSpPr/>
          <p:nvPr/>
        </p:nvSpPr>
        <p:spPr>
          <a:xfrm>
            <a:off x="5228487" y="5103309"/>
            <a:ext cx="1447800" cy="1504950"/>
          </a:xfrm>
          <a:prstGeom prst="down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099787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textu 4">
            <a:extLst>
              <a:ext uri="{FF2B5EF4-FFF2-40B4-BE49-F238E27FC236}">
                <a16:creationId xmlns:a16="http://schemas.microsoft.com/office/drawing/2014/main" id="{85DF8549-49A9-4045-9440-3C137B807487}"/>
              </a:ext>
            </a:extLst>
          </p:cNvPr>
          <p:cNvSpPr txBox="1">
            <a:spLocks/>
          </p:cNvSpPr>
          <p:nvPr/>
        </p:nvSpPr>
        <p:spPr>
          <a:xfrm>
            <a:off x="281651" y="4590003"/>
            <a:ext cx="10002103" cy="1423411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s-CZ" sz="5000" b="1" dirty="0">
                <a:solidFill>
                  <a:srgbClr val="C00000"/>
                </a:solidFill>
              </a:rPr>
              <a:t>Aktuální data o kapacitě</a:t>
            </a:r>
          </a:p>
          <a:p>
            <a:pPr marL="0" indent="0">
              <a:buNone/>
            </a:pPr>
            <a:r>
              <a:rPr lang="cs-CZ" sz="5000" b="1" dirty="0">
                <a:solidFill>
                  <a:srgbClr val="C00000"/>
                </a:solidFill>
              </a:rPr>
              <a:t>PL pro dospělé</a:t>
            </a:r>
          </a:p>
        </p:txBody>
      </p:sp>
    </p:spTree>
    <p:extLst>
      <p:ext uri="{BB962C8B-B14F-4D97-AF65-F5344CB8AC3E}">
        <p14:creationId xmlns:p14="http://schemas.microsoft.com/office/powerpoint/2010/main" val="123565579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EE6FB153-99F9-4A25-A906-FF8C5818F7AA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77654" y="511875"/>
            <a:ext cx="11724892" cy="59815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10000"/>
              </a:lnSpc>
            </a:pPr>
            <a:r>
              <a:rPr lang="en-US" sz="3200" b="1" dirty="0">
                <a:solidFill>
                  <a:srgbClr val="C00000"/>
                </a:solidFill>
                <a:latin typeface="+mn-lt"/>
                <a:ea typeface="+mn-ea"/>
                <a:cs typeface="+mn-cs"/>
              </a:rPr>
              <a:t>Praktick</a:t>
            </a:r>
            <a:r>
              <a:rPr lang="cs-CZ" sz="3200" b="1" dirty="0">
                <a:solidFill>
                  <a:srgbClr val="C00000"/>
                </a:solidFill>
                <a:latin typeface="+mn-lt"/>
                <a:ea typeface="+mn-ea"/>
                <a:cs typeface="+mn-cs"/>
              </a:rPr>
              <a:t>ý lékař pro dospělé</a:t>
            </a:r>
            <a:endParaRPr lang="cs-CZ" sz="3200" b="1" dirty="0">
              <a:latin typeface="+mn-lt"/>
              <a:ea typeface="+mn-ea"/>
              <a:cs typeface="+mn-cs"/>
            </a:endParaRP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EDE7CEE-3E09-4E0B-8BDA-6248039D37FF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3778029"/>
              </p:ext>
            </p:extLst>
          </p:nvPr>
        </p:nvGraphicFramePr>
        <p:xfrm>
          <a:off x="371859" y="1106394"/>
          <a:ext cx="10963482" cy="317348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6156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024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02494">
                  <a:extLst>
                    <a:ext uri="{9D8B030D-6E8A-4147-A177-3AD203B41FA5}">
                      <a16:colId xmlns:a16="http://schemas.microsoft.com/office/drawing/2014/main" val="1346161286"/>
                    </a:ext>
                  </a:extLst>
                </a:gridCol>
                <a:gridCol w="1602494">
                  <a:extLst>
                    <a:ext uri="{9D8B030D-6E8A-4147-A177-3AD203B41FA5}">
                      <a16:colId xmlns:a16="http://schemas.microsoft.com/office/drawing/2014/main" val="1846478696"/>
                    </a:ext>
                  </a:extLst>
                </a:gridCol>
              </a:tblGrid>
              <a:tr h="415241">
                <a:tc>
                  <a:txBody>
                    <a:bodyPr/>
                    <a:lstStyle/>
                    <a:p>
                      <a:pPr algn="l" fontAlgn="b"/>
                      <a:endParaRPr lang="cs-CZ" sz="1800" b="1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6000" marR="36000" marT="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u="none" strike="noStrike" dirty="0">
                          <a:effectLst/>
                        </a:rPr>
                        <a:t>N</a:t>
                      </a:r>
                      <a:endParaRPr lang="cs-CZ" sz="1800" b="1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%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Úvazky</a:t>
                      </a: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52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i="1" u="none" strike="noStrike" dirty="0">
                          <a:effectLst/>
                        </a:rPr>
                        <a:t>*Celkový počet žijících lékařů se specializací PL </a:t>
                      </a:r>
                    </a:p>
                    <a:p>
                      <a:pPr algn="l" fontAlgn="ctr"/>
                      <a:r>
                        <a:rPr lang="cs-CZ" sz="1800" i="1" u="none" strike="noStrike" dirty="0">
                          <a:effectLst/>
                        </a:rPr>
                        <a:t>  (aktivní i neaktivní)</a:t>
                      </a:r>
                      <a:endParaRPr lang="cs-CZ" sz="1800" b="1" i="1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r>
                        <a:rPr lang="en-US" sz="18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524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u="none" strike="noStrike" dirty="0">
                          <a:effectLst/>
                        </a:rPr>
                        <a:t>*</a:t>
                      </a:r>
                      <a:r>
                        <a:rPr lang="cs-CZ" sz="1800" u="none" strike="noStrike" dirty="0">
                          <a:effectLst/>
                        </a:rPr>
                        <a:t>*Počet aktivních PL ve zdravotnictví (dle NRHZS) na        pracovištích s odborností 001</a:t>
                      </a:r>
                      <a:endParaRPr lang="cs-CZ" sz="1800" b="0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905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,5 %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375,7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52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 - z toho u lůžkových PZS</a:t>
                      </a:r>
                      <a:endParaRPr lang="cs-CZ" sz="1800" b="0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0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7 %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,7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52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u="none" strike="noStrike" dirty="0">
                          <a:effectLst/>
                        </a:rPr>
                        <a:t> - z toho ve sdružených ambulancích</a:t>
                      </a:r>
                      <a:endParaRPr lang="cs-CZ" sz="1800" b="0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1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5 %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8,6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524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u="none" strike="noStrike" dirty="0">
                          <a:effectLst/>
                        </a:rPr>
                        <a:t> - z toho v samostatných ambulancích</a:t>
                      </a:r>
                      <a:endParaRPr lang="cs-CZ" sz="1800" b="0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58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,6 %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549,2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549840524"/>
                  </a:ext>
                </a:extLst>
              </a:tr>
              <a:tr h="41524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u="none" strike="noStrike" dirty="0">
                          <a:effectLst/>
                        </a:rPr>
                        <a:t> - z toho jinde či neznámo</a:t>
                      </a:r>
                      <a:endParaRPr lang="cs-CZ" sz="1800" b="0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 %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2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463976439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250835E9-41F9-A868-98F6-7B02713AC51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71859" y="4347457"/>
            <a:ext cx="1096348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*celkový počet je unikátní počet za ČR; v souhrnu aktivní lékaři se specializací PL, za všechna pracoviště bez ohledu na jejich odbornost a neaktivní lékaři se specializací PL</a:t>
            </a:r>
          </a:p>
          <a:p>
            <a:r>
              <a:rPr lang="cs-CZ" dirty="0"/>
              <a:t>** celkový počet je unikátní počet za ČR; u jednotlivých typů pracovišť v poznámce „z toho“ jeden lékař může pracovat ve více typech ZZ</a:t>
            </a:r>
          </a:p>
        </p:txBody>
      </p:sp>
    </p:spTree>
    <p:extLst>
      <p:ext uri="{BB962C8B-B14F-4D97-AF65-F5344CB8AC3E}">
        <p14:creationId xmlns:p14="http://schemas.microsoft.com/office/powerpoint/2010/main" val="118357139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4772E558-22EC-4397-90AE-F021CDA0E3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122" y="1190625"/>
            <a:ext cx="11885756" cy="2462213"/>
          </a:xfrm>
        </p:spPr>
        <p:txBody>
          <a:bodyPr>
            <a:noAutofit/>
          </a:bodyPr>
          <a:lstStyle/>
          <a:p>
            <a:pPr algn="ctr"/>
            <a:r>
              <a:rPr lang="cs-CZ" sz="4000" dirty="0">
                <a:solidFill>
                  <a:schemeClr val="tx1"/>
                </a:solidFill>
              </a:rPr>
              <a:t>V dostupných kapacitách PL jsou velké rozdíly mezi regiony, dle přepočtených úvazků na 100 tis. osob kraje je nejhorší situace v Středočeském kraji.</a:t>
            </a:r>
            <a:endParaRPr lang="cs-CZ" sz="3400" dirty="0">
              <a:solidFill>
                <a:schemeClr val="tx1"/>
              </a:solidFill>
            </a:endParaRPr>
          </a:p>
        </p:txBody>
      </p:sp>
      <p:sp>
        <p:nvSpPr>
          <p:cNvPr id="2" name="Šipka: dolů 1">
            <a:extLst>
              <a:ext uri="{FF2B5EF4-FFF2-40B4-BE49-F238E27FC236}">
                <a16:creationId xmlns:a16="http://schemas.microsoft.com/office/drawing/2014/main" id="{F69E5EEB-6549-423E-8775-C0C74F4C739B}"/>
              </a:ext>
            </a:extLst>
          </p:cNvPr>
          <p:cNvSpPr/>
          <p:nvPr/>
        </p:nvSpPr>
        <p:spPr>
          <a:xfrm>
            <a:off x="5276850" y="3790950"/>
            <a:ext cx="1638300" cy="96202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893547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>
            <p:custDataLst>
              <p:tags r:id="rId1"/>
            </p:custDataLst>
          </p:nvPr>
        </p:nvSpPr>
        <p:spPr>
          <a:xfrm>
            <a:off x="-819382" y="6287557"/>
            <a:ext cx="1099540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lvl="1" indent="-4572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pl-PL" alt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Analýza je provedena na úrovni jednotlivých adres zdravotnických zařízení (IČO+Ruian+Odb). Praktičtí lékaři jsou v souhrnu (PLD+PLDD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10179" y="97710"/>
            <a:ext cx="10515600" cy="631595"/>
          </a:xfrm>
        </p:spPr>
        <p:txBody>
          <a:bodyPr>
            <a:norm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Samostatné ordinace (ambulance) v ČR: </a:t>
            </a:r>
            <a:r>
              <a:rPr lang="en-US" sz="1600" dirty="0" err="1">
                <a:solidFill>
                  <a:schemeClr val="tx1"/>
                </a:solidFill>
              </a:rPr>
              <a:t>počet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obyvatel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na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1 úvazek lékaře</a:t>
            </a:r>
            <a:endParaRPr lang="en-US" sz="1600" dirty="0">
              <a:solidFill>
                <a:schemeClr val="tx1"/>
              </a:solidFill>
            </a:endParaRPr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60BAC4F8-761F-49D1-815E-B334777C6EB0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828547" y="1526928"/>
          <a:ext cx="4678347" cy="45466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8" name="TextBox 13">
            <a:extLst>
              <a:ext uri="{FF2B5EF4-FFF2-40B4-BE49-F238E27FC236}">
                <a16:creationId xmlns:a16="http://schemas.microsoft.com/office/drawing/2014/main" id="{07D34D5C-C559-4BA3-8EB1-2F75290863C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354906" y="1312955"/>
            <a:ext cx="191776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cs-CZ"/>
            </a:defPPr>
            <a:lvl1pPr>
              <a:defRPr sz="1200" b="1" i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</a:t>
            </a:r>
            <a:r>
              <a:rPr kumimoji="0" lang="cs-CZ" sz="12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čet</a:t>
            </a: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byvatel na 1 úvazek</a:t>
            </a:r>
            <a:endParaRPr kumimoji="0" lang="en-US" sz="12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ectangle 2">
            <a:extLst>
              <a:ext uri="{FF2B5EF4-FFF2-40B4-BE49-F238E27FC236}">
                <a16:creationId xmlns:a16="http://schemas.microsoft.com/office/drawing/2014/main" id="{2DFB89F2-832F-4B24-A8DF-54EBA914D41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99015" y="912111"/>
            <a:ext cx="482151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mostatná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rdinace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ktického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ékaře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 31. 03. 2023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7BF16F45-CCE2-448D-B2A8-A7A117FAD4F3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57374" y="392794"/>
            <a:ext cx="115346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 dat: NRHZS, NRZP</a:t>
            </a:r>
          </a:p>
        </p:txBody>
      </p:sp>
      <p:graphicFrame>
        <p:nvGraphicFramePr>
          <p:cNvPr id="5" name="Chart 15">
            <a:extLst>
              <a:ext uri="{FF2B5EF4-FFF2-40B4-BE49-F238E27FC236}">
                <a16:creationId xmlns:a16="http://schemas.microsoft.com/office/drawing/2014/main" id="{60BAC4F8-761F-49D1-815E-B334777C6EB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79725086"/>
              </p:ext>
            </p:extLst>
          </p:nvPr>
        </p:nvGraphicFramePr>
        <p:xfrm>
          <a:off x="6671472" y="1526928"/>
          <a:ext cx="4678347" cy="45466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6" name="TextBox 13">
            <a:extLst>
              <a:ext uri="{FF2B5EF4-FFF2-40B4-BE49-F238E27FC236}">
                <a16:creationId xmlns:a16="http://schemas.microsoft.com/office/drawing/2014/main" id="{07D34D5C-C559-4BA3-8EB1-2F75290863CE}"/>
              </a:ext>
            </a:extLst>
          </p:cNvPr>
          <p:cNvSpPr txBox="1"/>
          <p:nvPr/>
        </p:nvSpPr>
        <p:spPr>
          <a:xfrm>
            <a:off x="8197831" y="1312955"/>
            <a:ext cx="26407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</a:t>
            </a:r>
            <a:r>
              <a:rPr kumimoji="0" lang="cs-CZ" sz="12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čet</a:t>
            </a: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byvatel na 1 místo poskytování</a:t>
            </a:r>
            <a:endParaRPr kumimoji="0" lang="en-US" sz="12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2DFB89F2-832F-4B24-A8DF-54EBA914D415}"/>
              </a:ext>
            </a:extLst>
          </p:cNvPr>
          <p:cNvSpPr/>
          <p:nvPr/>
        </p:nvSpPr>
        <p:spPr>
          <a:xfrm>
            <a:off x="6541940" y="912111"/>
            <a:ext cx="4821513" cy="338554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mostatná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rdinace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ktického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ékaře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 31. </a:t>
            </a:r>
            <a:r>
              <a:rPr lang="cs-CZ" sz="1600" b="1" dirty="0">
                <a:solidFill>
                  <a:prstClr val="black"/>
                </a:solidFill>
                <a:latin typeface="Calibri" panose="020F0502020204030204"/>
              </a:rPr>
              <a:t>03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3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31679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textu 4">
            <a:extLst>
              <a:ext uri="{FF2B5EF4-FFF2-40B4-BE49-F238E27FC236}">
                <a16:creationId xmlns:a16="http://schemas.microsoft.com/office/drawing/2014/main" id="{85DF8549-49A9-4045-9440-3C137B807487}"/>
              </a:ext>
            </a:extLst>
          </p:cNvPr>
          <p:cNvSpPr txBox="1">
            <a:spLocks/>
          </p:cNvSpPr>
          <p:nvPr/>
        </p:nvSpPr>
        <p:spPr>
          <a:xfrm>
            <a:off x="0" y="5051913"/>
            <a:ext cx="10002103" cy="1423411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s-CZ" sz="4000" b="1" dirty="0">
                <a:solidFill>
                  <a:srgbClr val="C00000"/>
                </a:solidFill>
              </a:rPr>
              <a:t>Stávající kapacita ambulantní péče PLDD v ČR: současný stav a mezinárodním srovnání </a:t>
            </a:r>
          </a:p>
        </p:txBody>
      </p:sp>
    </p:spTree>
    <p:extLst>
      <p:ext uri="{BB962C8B-B14F-4D97-AF65-F5344CB8AC3E}">
        <p14:creationId xmlns:p14="http://schemas.microsoft.com/office/powerpoint/2010/main" val="331602033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BBACD57D-E4C8-B7A5-97CA-190EC8CA7E67}"/>
              </a:ext>
            </a:extLst>
          </p:cNvPr>
          <p:cNvGraphicFramePr/>
          <p:nvPr/>
        </p:nvGraphicFramePr>
        <p:xfrm>
          <a:off x="259882" y="1357159"/>
          <a:ext cx="11434813" cy="4581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Nadpis 4">
            <a:extLst>
              <a:ext uri="{FF2B5EF4-FFF2-40B4-BE49-F238E27FC236}">
                <a16:creationId xmlns:a16="http://schemas.microsoft.com/office/drawing/2014/main" id="{06040307-9229-2B06-A5C1-41F414AF5E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>
                <a:latin typeface="+mn-lt"/>
              </a:rPr>
              <a:t>Mezinárodní srovnání počtu praktických lékařů </a:t>
            </a:r>
            <a:br>
              <a:rPr lang="cs-CZ" b="1" dirty="0">
                <a:latin typeface="+mn-lt"/>
              </a:rPr>
            </a:br>
            <a:r>
              <a:rPr lang="cs-CZ" b="1" dirty="0">
                <a:latin typeface="+mn-lt"/>
              </a:rPr>
              <a:t>na 100 000 obyvatel v roce 2020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88F22BCF-7F3A-9627-F67D-AD76E740802A}"/>
              </a:ext>
            </a:extLst>
          </p:cNvPr>
          <p:cNvSpPr txBox="1"/>
          <p:nvPr/>
        </p:nvSpPr>
        <p:spPr>
          <a:xfrm>
            <a:off x="163629" y="6003843"/>
            <a:ext cx="63815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 důvodu nedostupnosti dat byl použit údaj za rok 2019.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80FCE3DE-ACCA-7BCB-1FC4-5FA4D45D9196}"/>
              </a:ext>
            </a:extLst>
          </p:cNvPr>
          <p:cNvSpPr txBox="1"/>
          <p:nvPr/>
        </p:nvSpPr>
        <p:spPr>
          <a:xfrm>
            <a:off x="10594731" y="1218659"/>
            <a:ext cx="15972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Eurostat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DDFDD493-B74E-3F51-D270-00DDA4D4BF7F}"/>
              </a:ext>
            </a:extLst>
          </p:cNvPr>
          <p:cNvSpPr txBox="1"/>
          <p:nvPr/>
        </p:nvSpPr>
        <p:spPr>
          <a:xfrm>
            <a:off x="4528038" y="6539717"/>
            <a:ext cx="75003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3"/>
              </a:rPr>
              <a:t>https://ec.europa.eu/eurostat/databrowser/view/HLTH_RS_SPEC__custom_6422816/default/table?lang=en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4D1E6D61-E1B0-B2A9-A05D-D54AE0DAD317}"/>
              </a:ext>
            </a:extLst>
          </p:cNvPr>
          <p:cNvSpPr/>
          <p:nvPr/>
        </p:nvSpPr>
        <p:spPr>
          <a:xfrm>
            <a:off x="9235440" y="3637280"/>
            <a:ext cx="294640" cy="1290320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420628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4772E558-22EC-4397-90AE-F021CDA0E3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122" y="1190625"/>
            <a:ext cx="11885756" cy="2933700"/>
          </a:xfrm>
        </p:spPr>
        <p:txBody>
          <a:bodyPr>
            <a:noAutofit/>
          </a:bodyPr>
          <a:lstStyle/>
          <a:p>
            <a:pPr algn="ctr"/>
            <a:r>
              <a:rPr lang="cs-CZ" sz="4000" dirty="0">
                <a:solidFill>
                  <a:schemeClr val="tx1"/>
                </a:solidFill>
              </a:rPr>
              <a:t>Největším problémem je ale věk PL, téměř třetina kapacit je již nyní v důchodovém věku, 40% kapacit je kryto lékaři nad 60 let věku. V tomto ohledu je nejhorší situace v krajích: Jihočeský, Plzeňský, Jihomoravský, Karlovarský. </a:t>
            </a:r>
            <a:endParaRPr lang="cs-CZ" sz="3400" dirty="0">
              <a:solidFill>
                <a:schemeClr val="tx1"/>
              </a:solidFill>
            </a:endParaRPr>
          </a:p>
        </p:txBody>
      </p:sp>
      <p:sp>
        <p:nvSpPr>
          <p:cNvPr id="2" name="Šipka: dolů 1">
            <a:extLst>
              <a:ext uri="{FF2B5EF4-FFF2-40B4-BE49-F238E27FC236}">
                <a16:creationId xmlns:a16="http://schemas.microsoft.com/office/drawing/2014/main" id="{F69E5EEB-6549-423E-8775-C0C74F4C739B}"/>
              </a:ext>
            </a:extLst>
          </p:cNvPr>
          <p:cNvSpPr/>
          <p:nvPr/>
        </p:nvSpPr>
        <p:spPr>
          <a:xfrm>
            <a:off x="5276850" y="4495800"/>
            <a:ext cx="1638300" cy="96202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93060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>
            <a:extLst>
              <a:ext uri="{FF2B5EF4-FFF2-40B4-BE49-F238E27FC236}">
                <a16:creationId xmlns:a16="http://schemas.microsoft.com/office/drawing/2014/main" id="{1D73B61D-6C1A-4B79-B4F6-84C30FCA90C6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72591" y="160258"/>
            <a:ext cx="10515600" cy="538364"/>
          </a:xfrm>
          <a:prstGeom prst="rect">
            <a:avLst/>
          </a:prstGeom>
        </p:spPr>
        <p:txBody>
          <a:bodyPr>
            <a:normAutofit fontScale="6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Praktičtí lékaři pro dospělé aktivní v roce 2022 podle věku a pohlaví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43DC70F3-3784-4DC1-92D6-E57D8B1BE987}"/>
              </a:ext>
            </a:extLst>
          </p:cNvPr>
          <p:cNvSpPr txBox="1"/>
          <p:nvPr/>
        </p:nvSpPr>
        <p:spPr>
          <a:xfrm>
            <a:off x="292951" y="532121"/>
            <a:ext cx="115344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finice: všichni aktivní lékaři se specializací „praktický lékař pro dospělé“ a/nebo lékaři pracující v samostatné ordinaci PLD, stav k 31. 12. 2022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8C394653-2CD1-41B0-B752-DF7D520DF888}"/>
              </a:ext>
            </a:extLst>
          </p:cNvPr>
          <p:cNvGraphicFramePr/>
          <p:nvPr/>
        </p:nvGraphicFramePr>
        <p:xfrm>
          <a:off x="434687" y="2938187"/>
          <a:ext cx="4941985" cy="370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A404C8F6-B255-462F-BD13-9127EB780928}"/>
              </a:ext>
            </a:extLst>
          </p:cNvPr>
          <p:cNvSpPr/>
          <p:nvPr/>
        </p:nvSpPr>
        <p:spPr>
          <a:xfrm rot="16200000">
            <a:off x="-256940" y="4466966"/>
            <a:ext cx="119596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bsolutní počet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3E5D4113-4EA3-4D80-B696-3D808688D6FA}"/>
              </a:ext>
            </a:extLst>
          </p:cNvPr>
          <p:cNvGraphicFramePr/>
          <p:nvPr/>
        </p:nvGraphicFramePr>
        <p:xfrm>
          <a:off x="6620033" y="2918751"/>
          <a:ext cx="5137280" cy="37209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Obdélník 9">
            <a:extLst>
              <a:ext uri="{FF2B5EF4-FFF2-40B4-BE49-F238E27FC236}">
                <a16:creationId xmlns:a16="http://schemas.microsoft.com/office/drawing/2014/main" id="{046C3FE0-D10A-4963-B8AF-F6516D8F6032}"/>
              </a:ext>
            </a:extLst>
          </p:cNvPr>
          <p:cNvSpPr/>
          <p:nvPr/>
        </p:nvSpPr>
        <p:spPr>
          <a:xfrm rot="16200000">
            <a:off x="5928407" y="4604462"/>
            <a:ext cx="119596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bsolutní počet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8132E533-4508-423C-B028-F1592B75EC94}"/>
              </a:ext>
            </a:extLst>
          </p:cNvPr>
          <p:cNvSpPr/>
          <p:nvPr/>
        </p:nvSpPr>
        <p:spPr>
          <a:xfrm>
            <a:off x="3890459" y="969818"/>
            <a:ext cx="161723" cy="158261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73225C2D-8D63-4577-A47F-D5A3B59AD0D1}"/>
              </a:ext>
            </a:extLst>
          </p:cNvPr>
          <p:cNvSpPr/>
          <p:nvPr/>
        </p:nvSpPr>
        <p:spPr>
          <a:xfrm>
            <a:off x="5826169" y="969818"/>
            <a:ext cx="161723" cy="158261"/>
          </a:xfrm>
          <a:prstGeom prst="rect">
            <a:avLst/>
          </a:prstGeom>
          <a:solidFill>
            <a:srgbClr val="FF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5AB86CAD-1A84-496E-9623-A807BB5E6912}"/>
              </a:ext>
            </a:extLst>
          </p:cNvPr>
          <p:cNvSpPr/>
          <p:nvPr/>
        </p:nvSpPr>
        <p:spPr>
          <a:xfrm>
            <a:off x="1486543" y="2749449"/>
            <a:ext cx="37952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ěk lékařů celkem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B38AC1C2-E218-4140-8EC0-FB5E8564FA0D}"/>
              </a:ext>
            </a:extLst>
          </p:cNvPr>
          <p:cNvSpPr/>
          <p:nvPr/>
        </p:nvSpPr>
        <p:spPr>
          <a:xfrm>
            <a:off x="7451795" y="2758593"/>
            <a:ext cx="37952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ěk lékařů podle pohlaví</a:t>
            </a: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8C81BEA4-0357-40A8-A6D3-F68739F2C727}"/>
              </a:ext>
            </a:extLst>
          </p:cNvPr>
          <p:cNvGraphicFramePr>
            <a:graphicFrameLocks noGrp="1"/>
          </p:cNvGraphicFramePr>
          <p:nvPr/>
        </p:nvGraphicFramePr>
        <p:xfrm>
          <a:off x="2066979" y="895227"/>
          <a:ext cx="7172271" cy="1848330"/>
        </p:xfrm>
        <a:graphic>
          <a:graphicData uri="http://schemas.openxmlformats.org/drawingml/2006/table">
            <a:tbl>
              <a:tblPr/>
              <a:tblGrid>
                <a:gridCol w="13274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4828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48286">
                  <a:extLst>
                    <a:ext uri="{9D8B030D-6E8A-4147-A177-3AD203B41FA5}">
                      <a16:colId xmlns:a16="http://schemas.microsoft.com/office/drawing/2014/main" val="2922683316"/>
                    </a:ext>
                  </a:extLst>
                </a:gridCol>
                <a:gridCol w="1948286">
                  <a:extLst>
                    <a:ext uri="{9D8B030D-6E8A-4147-A177-3AD203B41FA5}">
                      <a16:colId xmlns:a16="http://schemas.microsoft.com/office/drawing/2014/main" val="423885553"/>
                    </a:ext>
                  </a:extLst>
                </a:gridCol>
              </a:tblGrid>
              <a:tr h="308055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uži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Ženy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elkem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6606430"/>
                  </a:ext>
                </a:extLst>
              </a:tr>
              <a:tr h="308055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 482 (35,9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 423 (64,1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6 90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805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ůměrný věk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805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edián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6531380"/>
                  </a:ext>
                </a:extLst>
              </a:tr>
              <a:tr h="30805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/>
                        </a:rPr>
                        <a:t>60 a více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 272 (51,2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 777 (40,2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 049 (44,2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8055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65 a více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960 (38,7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 306 (29,5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 266 (32,8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TextovéPole 10">
            <a:extLst>
              <a:ext uri="{FF2B5EF4-FFF2-40B4-BE49-F238E27FC236}">
                <a16:creationId xmlns:a16="http://schemas.microsoft.com/office/drawing/2014/main" id="{6941B15D-E99E-6555-AAD2-5F67D2196845}"/>
              </a:ext>
            </a:extLst>
          </p:cNvPr>
          <p:cNvSpPr txBox="1"/>
          <p:nvPr/>
        </p:nvSpPr>
        <p:spPr>
          <a:xfrm>
            <a:off x="2905679" y="6461355"/>
            <a:ext cx="609742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zdravotnických pracovníků (NRZP), NRHZS</a:t>
            </a:r>
          </a:p>
        </p:txBody>
      </p:sp>
    </p:spTree>
    <p:extLst>
      <p:ext uri="{BB962C8B-B14F-4D97-AF65-F5344CB8AC3E}">
        <p14:creationId xmlns:p14="http://schemas.microsoft.com/office/powerpoint/2010/main" val="310421843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96784" y="574491"/>
            <a:ext cx="66180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poskytovatelů zdravotních služeb (NRPZS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1817" y="81023"/>
            <a:ext cx="10515600" cy="631595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Dynamika počtu ordinací praktických lékařů pro </a:t>
            </a:r>
            <a:r>
              <a:rPr lang="en-US" dirty="0" err="1">
                <a:solidFill>
                  <a:schemeClr val="tx1"/>
                </a:solidFill>
              </a:rPr>
              <a:t>dospělé</a:t>
            </a:r>
            <a:r>
              <a:rPr lang="en-US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1093923" y="1437133"/>
            <a:ext cx="29241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lková bilance počtu míst PZS v roce 2020</a:t>
            </a:r>
          </a:p>
        </p:txBody>
      </p:sp>
      <p:graphicFrame>
        <p:nvGraphicFramePr>
          <p:cNvPr id="76" name="Tabulka 24"/>
          <p:cNvGraphicFramePr>
            <a:graphicFrameLocks noGrp="1"/>
          </p:cNvGraphicFramePr>
          <p:nvPr/>
        </p:nvGraphicFramePr>
        <p:xfrm>
          <a:off x="10291050" y="288284"/>
          <a:ext cx="1280400" cy="1123950"/>
        </p:xfrm>
        <a:graphic>
          <a:graphicData uri="http://schemas.openxmlformats.org/drawingml/2006/table">
            <a:tbl>
              <a:tblPr/>
              <a:tblGrid>
                <a:gridCol w="640200">
                  <a:extLst>
                    <a:ext uri="{9D8B030D-6E8A-4147-A177-3AD203B41FA5}">
                      <a16:colId xmlns:a16="http://schemas.microsoft.com/office/drawing/2014/main" val="4173653498"/>
                    </a:ext>
                  </a:extLst>
                </a:gridCol>
                <a:gridCol w="640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08390">
                <a:tc>
                  <a:txBody>
                    <a:bodyPr/>
                    <a:lstStyle/>
                    <a:p>
                      <a:pPr algn="ctr" fontAlgn="ctr"/>
                      <a:endParaRPr lang="cs-CZ" sz="10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oční balance</a:t>
                      </a:r>
                      <a:r>
                        <a:rPr 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79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70 (-1,2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79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55 (-0,9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79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38 (-0,6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79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26 (-0,4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079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71 (-1,2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4363215"/>
                  </a:ext>
                </a:extLst>
              </a:tr>
            </a:tbl>
          </a:graphicData>
        </a:graphic>
      </p:graphicFrame>
      <p:sp>
        <p:nvSpPr>
          <p:cNvPr id="36" name="TextBox 66">
            <a:extLst>
              <a:ext uri="{FF2B5EF4-FFF2-40B4-BE49-F238E27FC236}">
                <a16:creationId xmlns:a16="http://schemas.microsoft.com/office/drawing/2014/main" id="{F939217E-8538-44CC-85A9-B1C937360563}"/>
              </a:ext>
            </a:extLst>
          </p:cNvPr>
          <p:cNvSpPr txBox="1"/>
          <p:nvPr/>
        </p:nvSpPr>
        <p:spPr>
          <a:xfrm>
            <a:off x="8769902" y="1462388"/>
            <a:ext cx="29241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lková bilance počtu míst PZS v roce 2022</a:t>
            </a:r>
          </a:p>
        </p:txBody>
      </p:sp>
      <p:sp>
        <p:nvSpPr>
          <p:cNvPr id="38" name="TextBox 66">
            <a:extLst>
              <a:ext uri="{FF2B5EF4-FFF2-40B4-BE49-F238E27FC236}">
                <a16:creationId xmlns:a16="http://schemas.microsoft.com/office/drawing/2014/main" id="{45BA50DE-4F19-4121-BDFB-CABA86A4F7A4}"/>
              </a:ext>
            </a:extLst>
          </p:cNvPr>
          <p:cNvSpPr txBox="1"/>
          <p:nvPr/>
        </p:nvSpPr>
        <p:spPr>
          <a:xfrm>
            <a:off x="5117282" y="1449393"/>
            <a:ext cx="29241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lková bilance počtu míst PZS v roce 2021</a:t>
            </a:r>
          </a:p>
        </p:txBody>
      </p:sp>
      <p:graphicFrame>
        <p:nvGraphicFramePr>
          <p:cNvPr id="10" name="Table 65">
            <a:extLst>
              <a:ext uri="{FF2B5EF4-FFF2-40B4-BE49-F238E27FC236}">
                <a16:creationId xmlns:a16="http://schemas.microsoft.com/office/drawing/2014/main" id="{1C29EBB2-0BB0-AC93-0947-32CA18B34597}"/>
              </a:ext>
            </a:extLst>
          </p:cNvPr>
          <p:cNvGraphicFramePr>
            <a:graphicFrameLocks noGrp="1"/>
          </p:cNvGraphicFramePr>
          <p:nvPr/>
        </p:nvGraphicFramePr>
        <p:xfrm>
          <a:off x="197864" y="1881673"/>
          <a:ext cx="3859964" cy="3851559"/>
        </p:xfrm>
        <a:graphic>
          <a:graphicData uri="http://schemas.openxmlformats.org/drawingml/2006/table">
            <a:tbl>
              <a:tblPr/>
              <a:tblGrid>
                <a:gridCol w="3297142">
                  <a:extLst>
                    <a:ext uri="{9D8B030D-6E8A-4147-A177-3AD203B41FA5}">
                      <a16:colId xmlns:a16="http://schemas.microsoft.com/office/drawing/2014/main" val="406821776"/>
                    </a:ext>
                  </a:extLst>
                </a:gridCol>
                <a:gridCol w="334090">
                  <a:extLst>
                    <a:ext uri="{9D8B030D-6E8A-4147-A177-3AD203B41FA5}">
                      <a16:colId xmlns:a16="http://schemas.microsoft.com/office/drawing/2014/main" val="1683923342"/>
                    </a:ext>
                  </a:extLst>
                </a:gridCol>
                <a:gridCol w="228732">
                  <a:extLst>
                    <a:ext uri="{9D8B030D-6E8A-4147-A177-3AD203B41FA5}">
                      <a16:colId xmlns:a16="http://schemas.microsoft.com/office/drawing/2014/main" val="1539128207"/>
                    </a:ext>
                  </a:extLst>
                </a:gridCol>
              </a:tblGrid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+</a:t>
                      </a:r>
                      <a:endParaRPr lang="en-US" sz="1400" b="1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+mj-lt"/>
                        </a:rPr>
                        <a:t>-</a:t>
                      </a:r>
                      <a:endParaRPr lang="en-US" sz="1400" b="1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376776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2095132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9867141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620" marR="7620" marT="7620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9705820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4171741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6391307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1238128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9135602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2139054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81063919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5553816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4427891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1010010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0985808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9538628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endParaRPr lang="cs-CZ" sz="10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endParaRPr lang="cs-CZ" sz="10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5075863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6307936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6663841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1369440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444710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879934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0267646"/>
                  </a:ext>
                </a:extLst>
              </a:tr>
            </a:tbl>
          </a:graphicData>
        </a:graphic>
      </p:graphicFrame>
      <p:graphicFrame>
        <p:nvGraphicFramePr>
          <p:cNvPr id="11" name="Chart 6">
            <a:extLst>
              <a:ext uri="{FF2B5EF4-FFF2-40B4-BE49-F238E27FC236}">
                <a16:creationId xmlns:a16="http://schemas.microsoft.com/office/drawing/2014/main" id="{700FE98C-2374-A160-769B-9572D6B23BD1}"/>
              </a:ext>
            </a:extLst>
          </p:cNvPr>
          <p:cNvGraphicFramePr/>
          <p:nvPr/>
        </p:nvGraphicFramePr>
        <p:xfrm>
          <a:off x="125413" y="1781491"/>
          <a:ext cx="3527682" cy="40819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TextBox 8">
            <a:extLst>
              <a:ext uri="{FF2B5EF4-FFF2-40B4-BE49-F238E27FC236}">
                <a16:creationId xmlns:a16="http://schemas.microsoft.com/office/drawing/2014/main" id="{C09A3143-EAF0-2547-CA78-C6C490D54D12}"/>
              </a:ext>
            </a:extLst>
          </p:cNvPr>
          <p:cNvSpPr txBox="1"/>
          <p:nvPr/>
        </p:nvSpPr>
        <p:spPr>
          <a:xfrm>
            <a:off x="111632" y="4484362"/>
            <a:ext cx="10711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e velikosti sídla</a:t>
            </a:r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ACBF71BC-A4EC-1005-F3DE-270D9A946E77}"/>
              </a:ext>
            </a:extLst>
          </p:cNvPr>
          <p:cNvSpPr txBox="1"/>
          <p:nvPr/>
        </p:nvSpPr>
        <p:spPr>
          <a:xfrm>
            <a:off x="114403" y="1868628"/>
            <a:ext cx="6399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e kraje</a:t>
            </a:r>
          </a:p>
        </p:txBody>
      </p:sp>
      <p:sp>
        <p:nvSpPr>
          <p:cNvPr id="14" name="Obdélník 26">
            <a:extLst>
              <a:ext uri="{FF2B5EF4-FFF2-40B4-BE49-F238E27FC236}">
                <a16:creationId xmlns:a16="http://schemas.microsoft.com/office/drawing/2014/main" id="{B814D229-8202-E965-BC49-9B4F47C1491F}"/>
              </a:ext>
            </a:extLst>
          </p:cNvPr>
          <p:cNvSpPr/>
          <p:nvPr/>
        </p:nvSpPr>
        <p:spPr>
          <a:xfrm>
            <a:off x="1743075" y="6065383"/>
            <a:ext cx="507076" cy="483061"/>
          </a:xfrm>
          <a:prstGeom prst="rect">
            <a:avLst/>
          </a:prstGeom>
          <a:solidFill>
            <a:srgbClr val="3D67BC">
              <a:lumMod val="20000"/>
              <a:lumOff val="80000"/>
            </a:srgbClr>
          </a:solidFill>
          <a:ln w="317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15" name="Table 11">
            <a:extLst>
              <a:ext uri="{FF2B5EF4-FFF2-40B4-BE49-F238E27FC236}">
                <a16:creationId xmlns:a16="http://schemas.microsoft.com/office/drawing/2014/main" id="{AE7A5EAC-DE9A-C506-D372-1F0356C5B1DC}"/>
              </a:ext>
            </a:extLst>
          </p:cNvPr>
          <p:cNvGraphicFramePr>
            <a:graphicFrameLocks noGrp="1"/>
          </p:cNvGraphicFramePr>
          <p:nvPr/>
        </p:nvGraphicFramePr>
        <p:xfrm>
          <a:off x="956557" y="6104643"/>
          <a:ext cx="2293501" cy="381000"/>
        </p:xfrm>
        <a:graphic>
          <a:graphicData uri="http://schemas.openxmlformats.org/drawingml/2006/table">
            <a:tbl>
              <a:tblPr/>
              <a:tblGrid>
                <a:gridCol w="786988">
                  <a:extLst>
                    <a:ext uri="{9D8B030D-6E8A-4147-A177-3AD203B41FA5}">
                      <a16:colId xmlns:a16="http://schemas.microsoft.com/office/drawing/2014/main" val="3853287201"/>
                    </a:ext>
                  </a:extLst>
                </a:gridCol>
                <a:gridCol w="502171">
                  <a:extLst>
                    <a:ext uri="{9D8B030D-6E8A-4147-A177-3AD203B41FA5}">
                      <a16:colId xmlns:a16="http://schemas.microsoft.com/office/drawing/2014/main" val="3872390175"/>
                    </a:ext>
                  </a:extLst>
                </a:gridCol>
                <a:gridCol w="502171">
                  <a:extLst>
                    <a:ext uri="{9D8B030D-6E8A-4147-A177-3AD203B41FA5}">
                      <a16:colId xmlns:a16="http://schemas.microsoft.com/office/drawing/2014/main" val="2814374472"/>
                    </a:ext>
                  </a:extLst>
                </a:gridCol>
                <a:gridCol w="502171">
                  <a:extLst>
                    <a:ext uri="{9D8B030D-6E8A-4147-A177-3AD203B41FA5}">
                      <a16:colId xmlns:a16="http://schemas.microsoft.com/office/drawing/2014/main" val="3360779753"/>
                    </a:ext>
                  </a:extLst>
                </a:gridCol>
              </a:tblGrid>
              <a:tr h="1905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lanc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  <a:endParaRPr lang="en-US" sz="1100" b="1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US" sz="11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0807266"/>
                  </a:ext>
                </a:extLst>
              </a:tr>
              <a:tr h="1905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cs-CZ" sz="1100" b="1" u="none" strike="noStrike" dirty="0">
                          <a:effectLst/>
                        </a:rPr>
                        <a:t>Celá ČR 202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r>
                        <a:rPr lang="cs-CZ" sz="11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38</a:t>
                      </a:r>
                      <a:endParaRPr lang="en-US" sz="11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+mn-lt"/>
                        </a:rPr>
                        <a:t>232</a:t>
                      </a:r>
                      <a:endParaRPr lang="en-US" sz="1100" b="1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270</a:t>
                      </a:r>
                      <a:endParaRPr lang="en-US" sz="11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6082128"/>
                  </a:ext>
                </a:extLst>
              </a:tr>
            </a:tbl>
          </a:graphicData>
        </a:graphic>
      </p:graphicFrame>
      <p:graphicFrame>
        <p:nvGraphicFramePr>
          <p:cNvPr id="17" name="Table 65">
            <a:extLst>
              <a:ext uri="{FF2B5EF4-FFF2-40B4-BE49-F238E27FC236}">
                <a16:creationId xmlns:a16="http://schemas.microsoft.com/office/drawing/2014/main" id="{25D5C573-836D-D6BB-0684-1EFA38A55CE7}"/>
              </a:ext>
            </a:extLst>
          </p:cNvPr>
          <p:cNvGraphicFramePr>
            <a:graphicFrameLocks noGrp="1"/>
          </p:cNvGraphicFramePr>
          <p:nvPr/>
        </p:nvGraphicFramePr>
        <p:xfrm>
          <a:off x="4331714" y="1881673"/>
          <a:ext cx="3859964" cy="3851559"/>
        </p:xfrm>
        <a:graphic>
          <a:graphicData uri="http://schemas.openxmlformats.org/drawingml/2006/table">
            <a:tbl>
              <a:tblPr/>
              <a:tblGrid>
                <a:gridCol w="3297142">
                  <a:extLst>
                    <a:ext uri="{9D8B030D-6E8A-4147-A177-3AD203B41FA5}">
                      <a16:colId xmlns:a16="http://schemas.microsoft.com/office/drawing/2014/main" val="406821776"/>
                    </a:ext>
                  </a:extLst>
                </a:gridCol>
                <a:gridCol w="334090">
                  <a:extLst>
                    <a:ext uri="{9D8B030D-6E8A-4147-A177-3AD203B41FA5}">
                      <a16:colId xmlns:a16="http://schemas.microsoft.com/office/drawing/2014/main" val="1683923342"/>
                    </a:ext>
                  </a:extLst>
                </a:gridCol>
                <a:gridCol w="228732">
                  <a:extLst>
                    <a:ext uri="{9D8B030D-6E8A-4147-A177-3AD203B41FA5}">
                      <a16:colId xmlns:a16="http://schemas.microsoft.com/office/drawing/2014/main" val="1539128207"/>
                    </a:ext>
                  </a:extLst>
                </a:gridCol>
              </a:tblGrid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+</a:t>
                      </a:r>
                      <a:endParaRPr lang="en-US" sz="1400" b="1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+mj-lt"/>
                        </a:rPr>
                        <a:t>-</a:t>
                      </a:r>
                      <a:endParaRPr lang="en-US" sz="1400" b="1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376776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2095132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9867141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620" marR="7620" marT="7620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9705820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4171741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6391307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1238128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9135602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2139054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81063919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5553816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4427891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1010010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0985808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9538628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endParaRPr lang="cs-CZ" sz="10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endParaRPr lang="cs-CZ" sz="10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5075863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6307936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6663841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1369440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444710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879934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0267646"/>
                  </a:ext>
                </a:extLst>
              </a:tr>
            </a:tbl>
          </a:graphicData>
        </a:graphic>
      </p:graphicFrame>
      <p:graphicFrame>
        <p:nvGraphicFramePr>
          <p:cNvPr id="18" name="Chart 6">
            <a:extLst>
              <a:ext uri="{FF2B5EF4-FFF2-40B4-BE49-F238E27FC236}">
                <a16:creationId xmlns:a16="http://schemas.microsoft.com/office/drawing/2014/main" id="{28573C94-9772-7155-020C-6B45E4A5503F}"/>
              </a:ext>
            </a:extLst>
          </p:cNvPr>
          <p:cNvGraphicFramePr/>
          <p:nvPr/>
        </p:nvGraphicFramePr>
        <p:xfrm>
          <a:off x="4259263" y="1781491"/>
          <a:ext cx="3527682" cy="40819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9" name="TextBox 8">
            <a:extLst>
              <a:ext uri="{FF2B5EF4-FFF2-40B4-BE49-F238E27FC236}">
                <a16:creationId xmlns:a16="http://schemas.microsoft.com/office/drawing/2014/main" id="{9F471734-6150-7525-2E28-B4D6E7482FA8}"/>
              </a:ext>
            </a:extLst>
          </p:cNvPr>
          <p:cNvSpPr txBox="1"/>
          <p:nvPr/>
        </p:nvSpPr>
        <p:spPr>
          <a:xfrm>
            <a:off x="4245482" y="4484362"/>
            <a:ext cx="10711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e velikosti sídla</a:t>
            </a:r>
          </a:p>
        </p:txBody>
      </p:sp>
      <p:sp>
        <p:nvSpPr>
          <p:cNvPr id="20" name="TextBox 8">
            <a:extLst>
              <a:ext uri="{FF2B5EF4-FFF2-40B4-BE49-F238E27FC236}">
                <a16:creationId xmlns:a16="http://schemas.microsoft.com/office/drawing/2014/main" id="{B30D5ECF-E013-D62E-85AA-6D38A5E17261}"/>
              </a:ext>
            </a:extLst>
          </p:cNvPr>
          <p:cNvSpPr txBox="1"/>
          <p:nvPr/>
        </p:nvSpPr>
        <p:spPr>
          <a:xfrm>
            <a:off x="4248253" y="1868628"/>
            <a:ext cx="6399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e kraje</a:t>
            </a:r>
          </a:p>
        </p:txBody>
      </p:sp>
      <p:sp>
        <p:nvSpPr>
          <p:cNvPr id="21" name="Obdélník 26">
            <a:extLst>
              <a:ext uri="{FF2B5EF4-FFF2-40B4-BE49-F238E27FC236}">
                <a16:creationId xmlns:a16="http://schemas.microsoft.com/office/drawing/2014/main" id="{8A9255DB-F255-D4BA-F5FB-3BA2C49CD9C1}"/>
              </a:ext>
            </a:extLst>
          </p:cNvPr>
          <p:cNvSpPr/>
          <p:nvPr/>
        </p:nvSpPr>
        <p:spPr>
          <a:xfrm>
            <a:off x="5876925" y="6065383"/>
            <a:ext cx="507076" cy="483061"/>
          </a:xfrm>
          <a:prstGeom prst="rect">
            <a:avLst/>
          </a:prstGeom>
          <a:solidFill>
            <a:srgbClr val="3D67BC">
              <a:lumMod val="20000"/>
              <a:lumOff val="80000"/>
            </a:srgbClr>
          </a:solidFill>
          <a:ln w="317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22" name="Table 11">
            <a:extLst>
              <a:ext uri="{FF2B5EF4-FFF2-40B4-BE49-F238E27FC236}">
                <a16:creationId xmlns:a16="http://schemas.microsoft.com/office/drawing/2014/main" id="{5B555BD0-A479-DAD1-3938-B9FA7E836D5E}"/>
              </a:ext>
            </a:extLst>
          </p:cNvPr>
          <p:cNvGraphicFramePr>
            <a:graphicFrameLocks noGrp="1"/>
          </p:cNvGraphicFramePr>
          <p:nvPr/>
        </p:nvGraphicFramePr>
        <p:xfrm>
          <a:off x="5081529" y="6104643"/>
          <a:ext cx="2293501" cy="381000"/>
        </p:xfrm>
        <a:graphic>
          <a:graphicData uri="http://schemas.openxmlformats.org/drawingml/2006/table">
            <a:tbl>
              <a:tblPr/>
              <a:tblGrid>
                <a:gridCol w="786988">
                  <a:extLst>
                    <a:ext uri="{9D8B030D-6E8A-4147-A177-3AD203B41FA5}">
                      <a16:colId xmlns:a16="http://schemas.microsoft.com/office/drawing/2014/main" val="3853287201"/>
                    </a:ext>
                  </a:extLst>
                </a:gridCol>
                <a:gridCol w="502171">
                  <a:extLst>
                    <a:ext uri="{9D8B030D-6E8A-4147-A177-3AD203B41FA5}">
                      <a16:colId xmlns:a16="http://schemas.microsoft.com/office/drawing/2014/main" val="3872390175"/>
                    </a:ext>
                  </a:extLst>
                </a:gridCol>
                <a:gridCol w="502171">
                  <a:extLst>
                    <a:ext uri="{9D8B030D-6E8A-4147-A177-3AD203B41FA5}">
                      <a16:colId xmlns:a16="http://schemas.microsoft.com/office/drawing/2014/main" val="2814374472"/>
                    </a:ext>
                  </a:extLst>
                </a:gridCol>
                <a:gridCol w="502171">
                  <a:extLst>
                    <a:ext uri="{9D8B030D-6E8A-4147-A177-3AD203B41FA5}">
                      <a16:colId xmlns:a16="http://schemas.microsoft.com/office/drawing/2014/main" val="3360779753"/>
                    </a:ext>
                  </a:extLst>
                </a:gridCol>
              </a:tblGrid>
              <a:tr h="1905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lanc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  <a:endParaRPr lang="en-US" sz="1100" b="1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US" sz="11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0807266"/>
                  </a:ext>
                </a:extLst>
              </a:tr>
              <a:tr h="1905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cs-CZ" sz="1100" b="1" u="none" strike="noStrike" dirty="0">
                          <a:effectLst/>
                        </a:rPr>
                        <a:t>Celá ČR 2021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r>
                        <a:rPr lang="cs-CZ" sz="11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26</a:t>
                      </a:r>
                      <a:endParaRPr lang="en-US" sz="11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+mn-lt"/>
                        </a:rPr>
                        <a:t>214</a:t>
                      </a:r>
                      <a:endParaRPr lang="en-US" sz="1100" b="1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  <a:endParaRPr lang="en-US" sz="11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6082128"/>
                  </a:ext>
                </a:extLst>
              </a:tr>
            </a:tbl>
          </a:graphicData>
        </a:graphic>
      </p:graphicFrame>
      <p:graphicFrame>
        <p:nvGraphicFramePr>
          <p:cNvPr id="24" name="Table 65">
            <a:extLst>
              <a:ext uri="{FF2B5EF4-FFF2-40B4-BE49-F238E27FC236}">
                <a16:creationId xmlns:a16="http://schemas.microsoft.com/office/drawing/2014/main" id="{F5D076C8-E272-8987-57B5-A391397E3129}"/>
              </a:ext>
            </a:extLst>
          </p:cNvPr>
          <p:cNvGraphicFramePr>
            <a:graphicFrameLocks noGrp="1"/>
          </p:cNvGraphicFramePr>
          <p:nvPr/>
        </p:nvGraphicFramePr>
        <p:xfrm>
          <a:off x="8303639" y="1881673"/>
          <a:ext cx="3859964" cy="3851559"/>
        </p:xfrm>
        <a:graphic>
          <a:graphicData uri="http://schemas.openxmlformats.org/drawingml/2006/table">
            <a:tbl>
              <a:tblPr/>
              <a:tblGrid>
                <a:gridCol w="3297142">
                  <a:extLst>
                    <a:ext uri="{9D8B030D-6E8A-4147-A177-3AD203B41FA5}">
                      <a16:colId xmlns:a16="http://schemas.microsoft.com/office/drawing/2014/main" val="406821776"/>
                    </a:ext>
                  </a:extLst>
                </a:gridCol>
                <a:gridCol w="334090">
                  <a:extLst>
                    <a:ext uri="{9D8B030D-6E8A-4147-A177-3AD203B41FA5}">
                      <a16:colId xmlns:a16="http://schemas.microsoft.com/office/drawing/2014/main" val="1683923342"/>
                    </a:ext>
                  </a:extLst>
                </a:gridCol>
                <a:gridCol w="228732">
                  <a:extLst>
                    <a:ext uri="{9D8B030D-6E8A-4147-A177-3AD203B41FA5}">
                      <a16:colId xmlns:a16="http://schemas.microsoft.com/office/drawing/2014/main" val="1539128207"/>
                    </a:ext>
                  </a:extLst>
                </a:gridCol>
              </a:tblGrid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+</a:t>
                      </a:r>
                      <a:endParaRPr lang="en-US" sz="1400" b="1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+mj-lt"/>
                        </a:rPr>
                        <a:t>-</a:t>
                      </a:r>
                      <a:endParaRPr lang="en-US" sz="1400" b="1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376776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2095132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9867141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9705820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4171741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6391307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1238128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9135602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2139054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81063919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5553816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4427891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1010010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0985808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9538628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0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0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5075863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6307936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6663841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1369440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444710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879934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0267646"/>
                  </a:ext>
                </a:extLst>
              </a:tr>
            </a:tbl>
          </a:graphicData>
        </a:graphic>
      </p:graphicFrame>
      <p:graphicFrame>
        <p:nvGraphicFramePr>
          <p:cNvPr id="25" name="Chart 6">
            <a:extLst>
              <a:ext uri="{FF2B5EF4-FFF2-40B4-BE49-F238E27FC236}">
                <a16:creationId xmlns:a16="http://schemas.microsoft.com/office/drawing/2014/main" id="{822B7155-0B82-840C-4461-DE62B58C7711}"/>
              </a:ext>
            </a:extLst>
          </p:cNvPr>
          <p:cNvGraphicFramePr/>
          <p:nvPr/>
        </p:nvGraphicFramePr>
        <p:xfrm>
          <a:off x="8231188" y="1781491"/>
          <a:ext cx="3527682" cy="40819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6" name="TextBox 8">
            <a:extLst>
              <a:ext uri="{FF2B5EF4-FFF2-40B4-BE49-F238E27FC236}">
                <a16:creationId xmlns:a16="http://schemas.microsoft.com/office/drawing/2014/main" id="{6857BDEA-5A25-E2F8-3BC4-A9388CE6D417}"/>
              </a:ext>
            </a:extLst>
          </p:cNvPr>
          <p:cNvSpPr txBox="1"/>
          <p:nvPr/>
        </p:nvSpPr>
        <p:spPr>
          <a:xfrm>
            <a:off x="8217407" y="4484362"/>
            <a:ext cx="10711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e velikosti sídla</a:t>
            </a:r>
          </a:p>
        </p:txBody>
      </p:sp>
      <p:sp>
        <p:nvSpPr>
          <p:cNvPr id="27" name="TextBox 8">
            <a:extLst>
              <a:ext uri="{FF2B5EF4-FFF2-40B4-BE49-F238E27FC236}">
                <a16:creationId xmlns:a16="http://schemas.microsoft.com/office/drawing/2014/main" id="{44A980A8-CB17-E4E2-214F-BABDAC4E0D34}"/>
              </a:ext>
            </a:extLst>
          </p:cNvPr>
          <p:cNvSpPr txBox="1"/>
          <p:nvPr/>
        </p:nvSpPr>
        <p:spPr>
          <a:xfrm>
            <a:off x="8220178" y="1868628"/>
            <a:ext cx="6399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e kraje</a:t>
            </a:r>
          </a:p>
        </p:txBody>
      </p:sp>
      <p:sp>
        <p:nvSpPr>
          <p:cNvPr id="28" name="Obdélník 26">
            <a:extLst>
              <a:ext uri="{FF2B5EF4-FFF2-40B4-BE49-F238E27FC236}">
                <a16:creationId xmlns:a16="http://schemas.microsoft.com/office/drawing/2014/main" id="{985475FA-86C7-1B0F-02C1-54A05DFE4E09}"/>
              </a:ext>
            </a:extLst>
          </p:cNvPr>
          <p:cNvSpPr/>
          <p:nvPr/>
        </p:nvSpPr>
        <p:spPr>
          <a:xfrm>
            <a:off x="9848850" y="6065383"/>
            <a:ext cx="507076" cy="483061"/>
          </a:xfrm>
          <a:prstGeom prst="rect">
            <a:avLst/>
          </a:prstGeom>
          <a:solidFill>
            <a:srgbClr val="3D67BC">
              <a:lumMod val="20000"/>
              <a:lumOff val="80000"/>
            </a:srgbClr>
          </a:solidFill>
          <a:ln w="317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29" name="Table 11">
            <a:extLst>
              <a:ext uri="{FF2B5EF4-FFF2-40B4-BE49-F238E27FC236}">
                <a16:creationId xmlns:a16="http://schemas.microsoft.com/office/drawing/2014/main" id="{15ABEFD1-F547-D8C0-37F4-3A02EAF879CB}"/>
              </a:ext>
            </a:extLst>
          </p:cNvPr>
          <p:cNvGraphicFramePr>
            <a:graphicFrameLocks noGrp="1"/>
          </p:cNvGraphicFramePr>
          <p:nvPr/>
        </p:nvGraphicFramePr>
        <p:xfrm>
          <a:off x="9053454" y="6104643"/>
          <a:ext cx="2293501" cy="381000"/>
        </p:xfrm>
        <a:graphic>
          <a:graphicData uri="http://schemas.openxmlformats.org/drawingml/2006/table">
            <a:tbl>
              <a:tblPr/>
              <a:tblGrid>
                <a:gridCol w="786988">
                  <a:extLst>
                    <a:ext uri="{9D8B030D-6E8A-4147-A177-3AD203B41FA5}">
                      <a16:colId xmlns:a16="http://schemas.microsoft.com/office/drawing/2014/main" val="3853287201"/>
                    </a:ext>
                  </a:extLst>
                </a:gridCol>
                <a:gridCol w="502171">
                  <a:extLst>
                    <a:ext uri="{9D8B030D-6E8A-4147-A177-3AD203B41FA5}">
                      <a16:colId xmlns:a16="http://schemas.microsoft.com/office/drawing/2014/main" val="3872390175"/>
                    </a:ext>
                  </a:extLst>
                </a:gridCol>
                <a:gridCol w="502171">
                  <a:extLst>
                    <a:ext uri="{9D8B030D-6E8A-4147-A177-3AD203B41FA5}">
                      <a16:colId xmlns:a16="http://schemas.microsoft.com/office/drawing/2014/main" val="2814374472"/>
                    </a:ext>
                  </a:extLst>
                </a:gridCol>
                <a:gridCol w="502171">
                  <a:extLst>
                    <a:ext uri="{9D8B030D-6E8A-4147-A177-3AD203B41FA5}">
                      <a16:colId xmlns:a16="http://schemas.microsoft.com/office/drawing/2014/main" val="3360779753"/>
                    </a:ext>
                  </a:extLst>
                </a:gridCol>
              </a:tblGrid>
              <a:tr h="1905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lanc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  <a:endParaRPr lang="en-US" sz="1100" b="1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US" sz="11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0807266"/>
                  </a:ext>
                </a:extLst>
              </a:tr>
              <a:tr h="1905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cs-CZ" sz="1100" b="1" u="none" strike="noStrike" dirty="0">
                          <a:effectLst/>
                        </a:rPr>
                        <a:t>Celá ČR 2022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r>
                        <a:rPr lang="cs-CZ" sz="11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71</a:t>
                      </a:r>
                      <a:endParaRPr lang="en-US" sz="11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70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608212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0480569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10">
            <a:extLst>
              <a:ext uri="{FF2B5EF4-FFF2-40B4-BE49-F238E27FC236}">
                <a16:creationId xmlns:a16="http://schemas.microsoft.com/office/drawing/2014/main" id="{328397AF-DA53-36BB-3423-393D7AF76916}"/>
              </a:ext>
            </a:extLst>
          </p:cNvPr>
          <p:cNvSpPr txBox="1"/>
          <p:nvPr/>
        </p:nvSpPr>
        <p:spPr>
          <a:xfrm>
            <a:off x="6442699" y="1994346"/>
            <a:ext cx="61659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zrušených míst poskytování 2018 – 2022 </a:t>
            </a:r>
          </a:p>
        </p:txBody>
      </p:sp>
      <p:pic>
        <p:nvPicPr>
          <p:cNvPr id="5" name="Picture 13" descr="A picture containing map&#10;&#10;Description automatically generated">
            <a:extLst>
              <a:ext uri="{FF2B5EF4-FFF2-40B4-BE49-F238E27FC236}">
                <a16:creationId xmlns:a16="http://schemas.microsoft.com/office/drawing/2014/main" id="{06C94B45-FA36-4D93-B213-799E2D1221B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645" r="31375" b="26558"/>
          <a:stretch/>
        </p:blipFill>
        <p:spPr>
          <a:xfrm>
            <a:off x="5353273" y="2539760"/>
            <a:ext cx="6655192" cy="3620796"/>
          </a:xfrm>
          <a:prstGeom prst="rect">
            <a:avLst/>
          </a:prstGeom>
        </p:spPr>
      </p:pic>
      <p:pic>
        <p:nvPicPr>
          <p:cNvPr id="6" name="Picture 12" descr="A picture containing map&#10;&#10;Description automatically generated">
            <a:extLst>
              <a:ext uri="{FF2B5EF4-FFF2-40B4-BE49-F238E27FC236}">
                <a16:creationId xmlns:a16="http://schemas.microsoft.com/office/drawing/2014/main" id="{113FD61C-AE99-EF52-A039-AFF4479253B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838" t="35107" r="19522" b="47203"/>
          <a:stretch/>
        </p:blipFill>
        <p:spPr>
          <a:xfrm>
            <a:off x="10884670" y="2478596"/>
            <a:ext cx="1031846" cy="121315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96784" y="911949"/>
            <a:ext cx="66180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poskytovatelů zdravotních služeb (NRPZS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1817" y="81023"/>
            <a:ext cx="10515600" cy="631595"/>
          </a:xfrm>
        </p:spPr>
        <p:txBody>
          <a:bodyPr>
            <a:normAutofit fontScale="90000"/>
          </a:bodyPr>
          <a:lstStyle/>
          <a:p>
            <a:r>
              <a:rPr lang="en-US" dirty="0">
                <a:solidFill>
                  <a:schemeClr val="tx1"/>
                </a:solidFill>
              </a:rPr>
              <a:t>Dynamika počtu ordinací praktických lékařů pro </a:t>
            </a:r>
            <a:r>
              <a:rPr lang="en-US" dirty="0" err="1">
                <a:solidFill>
                  <a:schemeClr val="tx1"/>
                </a:solidFill>
              </a:rPr>
              <a:t>dospělé</a:t>
            </a:r>
            <a:r>
              <a:rPr lang="cs-CZ" dirty="0">
                <a:solidFill>
                  <a:schemeClr val="tx1"/>
                </a:solidFill>
              </a:rPr>
              <a:t> v letech 2018-2022</a:t>
            </a:r>
            <a:r>
              <a:rPr lang="en-US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1775889" y="1437133"/>
            <a:ext cx="34147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lková bilance počtu míst PLD v letech 2018-2022</a:t>
            </a:r>
          </a:p>
        </p:txBody>
      </p:sp>
      <p:graphicFrame>
        <p:nvGraphicFramePr>
          <p:cNvPr id="76" name="Tabulka 24"/>
          <p:cNvGraphicFramePr>
            <a:graphicFrameLocks noGrp="1"/>
          </p:cNvGraphicFramePr>
          <p:nvPr/>
        </p:nvGraphicFramePr>
        <p:xfrm>
          <a:off x="5801113" y="712618"/>
          <a:ext cx="1280400" cy="1123950"/>
        </p:xfrm>
        <a:graphic>
          <a:graphicData uri="http://schemas.openxmlformats.org/drawingml/2006/table">
            <a:tbl>
              <a:tblPr/>
              <a:tblGrid>
                <a:gridCol w="640200">
                  <a:extLst>
                    <a:ext uri="{9D8B030D-6E8A-4147-A177-3AD203B41FA5}">
                      <a16:colId xmlns:a16="http://schemas.microsoft.com/office/drawing/2014/main" val="4173653498"/>
                    </a:ext>
                  </a:extLst>
                </a:gridCol>
                <a:gridCol w="640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08390">
                <a:tc>
                  <a:txBody>
                    <a:bodyPr/>
                    <a:lstStyle/>
                    <a:p>
                      <a:pPr algn="ctr" fontAlgn="ctr"/>
                      <a:endParaRPr lang="cs-CZ" sz="10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oční balance</a:t>
                      </a:r>
                      <a:r>
                        <a:rPr 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79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70 (-1,2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79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55 (-0,9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79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38 (-0,6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79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26 (-0,4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0791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71 (-1,2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4363215"/>
                  </a:ext>
                </a:extLst>
              </a:tr>
            </a:tbl>
          </a:graphicData>
        </a:graphic>
      </p:graphicFrame>
      <p:graphicFrame>
        <p:nvGraphicFramePr>
          <p:cNvPr id="10" name="Table 65">
            <a:extLst>
              <a:ext uri="{FF2B5EF4-FFF2-40B4-BE49-F238E27FC236}">
                <a16:creationId xmlns:a16="http://schemas.microsoft.com/office/drawing/2014/main" id="{1C29EBB2-0BB0-AC93-0947-32CA18B34597}"/>
              </a:ext>
            </a:extLst>
          </p:cNvPr>
          <p:cNvGraphicFramePr>
            <a:graphicFrameLocks noGrp="1"/>
          </p:cNvGraphicFramePr>
          <p:nvPr/>
        </p:nvGraphicFramePr>
        <p:xfrm>
          <a:off x="1270355" y="1881673"/>
          <a:ext cx="3859964" cy="3851559"/>
        </p:xfrm>
        <a:graphic>
          <a:graphicData uri="http://schemas.openxmlformats.org/drawingml/2006/table">
            <a:tbl>
              <a:tblPr/>
              <a:tblGrid>
                <a:gridCol w="3297142">
                  <a:extLst>
                    <a:ext uri="{9D8B030D-6E8A-4147-A177-3AD203B41FA5}">
                      <a16:colId xmlns:a16="http://schemas.microsoft.com/office/drawing/2014/main" val="406821776"/>
                    </a:ext>
                  </a:extLst>
                </a:gridCol>
                <a:gridCol w="334090">
                  <a:extLst>
                    <a:ext uri="{9D8B030D-6E8A-4147-A177-3AD203B41FA5}">
                      <a16:colId xmlns:a16="http://schemas.microsoft.com/office/drawing/2014/main" val="1683923342"/>
                    </a:ext>
                  </a:extLst>
                </a:gridCol>
                <a:gridCol w="228732">
                  <a:extLst>
                    <a:ext uri="{9D8B030D-6E8A-4147-A177-3AD203B41FA5}">
                      <a16:colId xmlns:a16="http://schemas.microsoft.com/office/drawing/2014/main" val="1539128207"/>
                    </a:ext>
                  </a:extLst>
                </a:gridCol>
              </a:tblGrid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+</a:t>
                      </a:r>
                      <a:endParaRPr lang="en-US" sz="1400" b="1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+mj-lt"/>
                        </a:rPr>
                        <a:t>-</a:t>
                      </a:r>
                      <a:endParaRPr lang="en-US" sz="1400" b="1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376776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86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2095132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9867141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9705820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4171741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6391307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1238128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9135602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2139054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81063919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5553816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4427891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1010010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0985808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6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9538628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endParaRPr lang="cs-CZ" sz="10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endParaRPr lang="cs-CZ" sz="10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5075863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91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2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6307936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6663841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1369440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9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444710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879934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309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1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0267646"/>
                  </a:ext>
                </a:extLst>
              </a:tr>
            </a:tbl>
          </a:graphicData>
        </a:graphic>
      </p:graphicFrame>
      <p:graphicFrame>
        <p:nvGraphicFramePr>
          <p:cNvPr id="11" name="Chart 6">
            <a:extLst>
              <a:ext uri="{FF2B5EF4-FFF2-40B4-BE49-F238E27FC236}">
                <a16:creationId xmlns:a16="http://schemas.microsoft.com/office/drawing/2014/main" id="{700FE98C-2374-A160-769B-9572D6B23BD1}"/>
              </a:ext>
            </a:extLst>
          </p:cNvPr>
          <p:cNvGraphicFramePr/>
          <p:nvPr/>
        </p:nvGraphicFramePr>
        <p:xfrm>
          <a:off x="1197904" y="1781491"/>
          <a:ext cx="3527682" cy="40819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TextBox 8">
            <a:extLst>
              <a:ext uri="{FF2B5EF4-FFF2-40B4-BE49-F238E27FC236}">
                <a16:creationId xmlns:a16="http://schemas.microsoft.com/office/drawing/2014/main" id="{C09A3143-EAF0-2547-CA78-C6C490D54D12}"/>
              </a:ext>
            </a:extLst>
          </p:cNvPr>
          <p:cNvSpPr txBox="1"/>
          <p:nvPr/>
        </p:nvSpPr>
        <p:spPr>
          <a:xfrm>
            <a:off x="1184123" y="4484362"/>
            <a:ext cx="10711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e velikosti sídla</a:t>
            </a:r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ACBF71BC-A4EC-1005-F3DE-270D9A946E77}"/>
              </a:ext>
            </a:extLst>
          </p:cNvPr>
          <p:cNvSpPr txBox="1"/>
          <p:nvPr/>
        </p:nvSpPr>
        <p:spPr>
          <a:xfrm>
            <a:off x="1186894" y="1868628"/>
            <a:ext cx="6399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e kraje</a:t>
            </a:r>
          </a:p>
        </p:txBody>
      </p:sp>
      <p:sp>
        <p:nvSpPr>
          <p:cNvPr id="14" name="Obdélník 26">
            <a:extLst>
              <a:ext uri="{FF2B5EF4-FFF2-40B4-BE49-F238E27FC236}">
                <a16:creationId xmlns:a16="http://schemas.microsoft.com/office/drawing/2014/main" id="{B814D229-8202-E965-BC49-9B4F47C1491F}"/>
              </a:ext>
            </a:extLst>
          </p:cNvPr>
          <p:cNvSpPr/>
          <p:nvPr/>
        </p:nvSpPr>
        <p:spPr>
          <a:xfrm>
            <a:off x="2815566" y="6065383"/>
            <a:ext cx="507076" cy="483061"/>
          </a:xfrm>
          <a:prstGeom prst="rect">
            <a:avLst/>
          </a:prstGeom>
          <a:solidFill>
            <a:srgbClr val="3D67BC">
              <a:lumMod val="20000"/>
              <a:lumOff val="80000"/>
            </a:srgbClr>
          </a:solidFill>
          <a:ln w="317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15" name="Table 11">
            <a:extLst>
              <a:ext uri="{FF2B5EF4-FFF2-40B4-BE49-F238E27FC236}">
                <a16:creationId xmlns:a16="http://schemas.microsoft.com/office/drawing/2014/main" id="{AE7A5EAC-DE9A-C506-D372-1F0356C5B1DC}"/>
              </a:ext>
            </a:extLst>
          </p:cNvPr>
          <p:cNvGraphicFramePr>
            <a:graphicFrameLocks noGrp="1"/>
          </p:cNvGraphicFramePr>
          <p:nvPr/>
        </p:nvGraphicFramePr>
        <p:xfrm>
          <a:off x="2029048" y="6104643"/>
          <a:ext cx="2293501" cy="381000"/>
        </p:xfrm>
        <a:graphic>
          <a:graphicData uri="http://schemas.openxmlformats.org/drawingml/2006/table">
            <a:tbl>
              <a:tblPr/>
              <a:tblGrid>
                <a:gridCol w="786988">
                  <a:extLst>
                    <a:ext uri="{9D8B030D-6E8A-4147-A177-3AD203B41FA5}">
                      <a16:colId xmlns:a16="http://schemas.microsoft.com/office/drawing/2014/main" val="3853287201"/>
                    </a:ext>
                  </a:extLst>
                </a:gridCol>
                <a:gridCol w="502171">
                  <a:extLst>
                    <a:ext uri="{9D8B030D-6E8A-4147-A177-3AD203B41FA5}">
                      <a16:colId xmlns:a16="http://schemas.microsoft.com/office/drawing/2014/main" val="3872390175"/>
                    </a:ext>
                  </a:extLst>
                </a:gridCol>
                <a:gridCol w="502171">
                  <a:extLst>
                    <a:ext uri="{9D8B030D-6E8A-4147-A177-3AD203B41FA5}">
                      <a16:colId xmlns:a16="http://schemas.microsoft.com/office/drawing/2014/main" val="2814374472"/>
                    </a:ext>
                  </a:extLst>
                </a:gridCol>
                <a:gridCol w="502171">
                  <a:extLst>
                    <a:ext uri="{9D8B030D-6E8A-4147-A177-3AD203B41FA5}">
                      <a16:colId xmlns:a16="http://schemas.microsoft.com/office/drawing/2014/main" val="3360779753"/>
                    </a:ext>
                  </a:extLst>
                </a:gridCol>
              </a:tblGrid>
              <a:tr h="1905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lanc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  <a:endParaRPr lang="en-US" sz="1100" b="1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US" sz="11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0807266"/>
                  </a:ext>
                </a:extLst>
              </a:tr>
              <a:tr h="1905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cs-CZ" sz="1100" b="1" u="none" strike="noStrike" dirty="0">
                          <a:effectLst/>
                        </a:rPr>
                        <a:t>Celá ČR 2020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1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r>
                        <a:rPr lang="cs-CZ" sz="11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259</a:t>
                      </a:r>
                      <a:endParaRPr lang="en-US" sz="11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+mn-lt"/>
                        </a:rPr>
                        <a:t>1 219</a:t>
                      </a:r>
                      <a:endParaRPr lang="en-US" sz="1100" b="1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1 478</a:t>
                      </a:r>
                      <a:endParaRPr lang="en-US" sz="11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608212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156313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Nadpis 1">
            <a:extLst>
              <a:ext uri="{FF2B5EF4-FFF2-40B4-BE49-F238E27FC236}">
                <a16:creationId xmlns:a16="http://schemas.microsoft.com/office/drawing/2014/main" id="{EA328CEC-C272-456D-B936-D7E722870E2A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57558" y="156024"/>
            <a:ext cx="11579400" cy="7747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F6063C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Počty nově získaných specializací „Všeobecné praktické lékařství“</a:t>
            </a:r>
          </a:p>
        </p:txBody>
      </p:sp>
      <p:sp>
        <p:nvSpPr>
          <p:cNvPr id="7" name="TextBox 6"/>
          <p:cNvSpPr txBox="1"/>
          <p:nvPr>
            <p:custDataLst>
              <p:tags r:id="rId2"/>
            </p:custDataLst>
          </p:nvPr>
        </p:nvSpPr>
        <p:spPr>
          <a:xfrm>
            <a:off x="355042" y="619188"/>
            <a:ext cx="43362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zdravotnických pracovníků (NR-ZP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DCB7A54E-4CB6-D438-5BEC-8BB0CF748741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491205" y="946783"/>
          <a:ext cx="11042243" cy="868245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2385824">
                  <a:extLst>
                    <a:ext uri="{9D8B030D-6E8A-4147-A177-3AD203B41FA5}">
                      <a16:colId xmlns:a16="http://schemas.microsoft.com/office/drawing/2014/main" val="3300508992"/>
                    </a:ext>
                  </a:extLst>
                </a:gridCol>
                <a:gridCol w="669431">
                  <a:extLst>
                    <a:ext uri="{9D8B030D-6E8A-4147-A177-3AD203B41FA5}">
                      <a16:colId xmlns:a16="http://schemas.microsoft.com/office/drawing/2014/main" val="217809198"/>
                    </a:ext>
                  </a:extLst>
                </a:gridCol>
                <a:gridCol w="669431">
                  <a:extLst>
                    <a:ext uri="{9D8B030D-6E8A-4147-A177-3AD203B41FA5}">
                      <a16:colId xmlns:a16="http://schemas.microsoft.com/office/drawing/2014/main" val="3130424681"/>
                    </a:ext>
                  </a:extLst>
                </a:gridCol>
                <a:gridCol w="669431">
                  <a:extLst>
                    <a:ext uri="{9D8B030D-6E8A-4147-A177-3AD203B41FA5}">
                      <a16:colId xmlns:a16="http://schemas.microsoft.com/office/drawing/2014/main" val="1066111771"/>
                    </a:ext>
                  </a:extLst>
                </a:gridCol>
                <a:gridCol w="669431">
                  <a:extLst>
                    <a:ext uri="{9D8B030D-6E8A-4147-A177-3AD203B41FA5}">
                      <a16:colId xmlns:a16="http://schemas.microsoft.com/office/drawing/2014/main" val="334408982"/>
                    </a:ext>
                  </a:extLst>
                </a:gridCol>
                <a:gridCol w="669431">
                  <a:extLst>
                    <a:ext uri="{9D8B030D-6E8A-4147-A177-3AD203B41FA5}">
                      <a16:colId xmlns:a16="http://schemas.microsoft.com/office/drawing/2014/main" val="534954015"/>
                    </a:ext>
                  </a:extLst>
                </a:gridCol>
                <a:gridCol w="669431">
                  <a:extLst>
                    <a:ext uri="{9D8B030D-6E8A-4147-A177-3AD203B41FA5}">
                      <a16:colId xmlns:a16="http://schemas.microsoft.com/office/drawing/2014/main" val="899423831"/>
                    </a:ext>
                  </a:extLst>
                </a:gridCol>
                <a:gridCol w="669431">
                  <a:extLst>
                    <a:ext uri="{9D8B030D-6E8A-4147-A177-3AD203B41FA5}">
                      <a16:colId xmlns:a16="http://schemas.microsoft.com/office/drawing/2014/main" val="2477736338"/>
                    </a:ext>
                  </a:extLst>
                </a:gridCol>
                <a:gridCol w="669431">
                  <a:extLst>
                    <a:ext uri="{9D8B030D-6E8A-4147-A177-3AD203B41FA5}">
                      <a16:colId xmlns:a16="http://schemas.microsoft.com/office/drawing/2014/main" val="375893339"/>
                    </a:ext>
                  </a:extLst>
                </a:gridCol>
                <a:gridCol w="669431">
                  <a:extLst>
                    <a:ext uri="{9D8B030D-6E8A-4147-A177-3AD203B41FA5}">
                      <a16:colId xmlns:a16="http://schemas.microsoft.com/office/drawing/2014/main" val="3317492505"/>
                    </a:ext>
                  </a:extLst>
                </a:gridCol>
                <a:gridCol w="669431">
                  <a:extLst>
                    <a:ext uri="{9D8B030D-6E8A-4147-A177-3AD203B41FA5}">
                      <a16:colId xmlns:a16="http://schemas.microsoft.com/office/drawing/2014/main" val="1470301250"/>
                    </a:ext>
                  </a:extLst>
                </a:gridCol>
                <a:gridCol w="669431">
                  <a:extLst>
                    <a:ext uri="{9D8B030D-6E8A-4147-A177-3AD203B41FA5}">
                      <a16:colId xmlns:a16="http://schemas.microsoft.com/office/drawing/2014/main" val="2225083094"/>
                    </a:ext>
                  </a:extLst>
                </a:gridCol>
                <a:gridCol w="669431">
                  <a:extLst>
                    <a:ext uri="{9D8B030D-6E8A-4147-A177-3AD203B41FA5}">
                      <a16:colId xmlns:a16="http://schemas.microsoft.com/office/drawing/2014/main" val="2485750943"/>
                    </a:ext>
                  </a:extLst>
                </a:gridCol>
                <a:gridCol w="623247">
                  <a:extLst>
                    <a:ext uri="{9D8B030D-6E8A-4147-A177-3AD203B41FA5}">
                      <a16:colId xmlns:a16="http://schemas.microsoft.com/office/drawing/2014/main" val="389173857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 err="1">
                          <a:effectLst/>
                        </a:rPr>
                        <a:t>Speciali</a:t>
                      </a:r>
                      <a:r>
                        <a:rPr lang="cs-CZ" sz="1400" b="1" u="none" strike="noStrike" dirty="0" err="1">
                          <a:effectLst/>
                        </a:rPr>
                        <a:t>zace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2010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2011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2012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2013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2014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2015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2016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2017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2018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2019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2020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2021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2022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2265116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</a:rPr>
                        <a:t>Všeobecné praktické lékařství (VPL)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7620" marR="7620" marT="762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55895803"/>
                  </a:ext>
                </a:extLst>
              </a:tr>
            </a:tbl>
          </a:graphicData>
        </a:graphic>
      </p:graphicFrame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91944634-4357-60B8-DB42-8910D1406189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2709451" y="2208179"/>
          <a:ext cx="6675613" cy="43557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pic>
        <p:nvPicPr>
          <p:cNvPr id="12" name="Obrázek 11">
            <a:extLst>
              <a:ext uri="{FF2B5EF4-FFF2-40B4-BE49-F238E27FC236}">
                <a16:creationId xmlns:a16="http://schemas.microsoft.com/office/drawing/2014/main" id="{16658154-2DC2-0E4E-FB15-52445F9A5C34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6939643" y="2820659"/>
            <a:ext cx="1001619" cy="807757"/>
          </a:xfrm>
          <a:prstGeom prst="rect">
            <a:avLst/>
          </a:prstGeom>
        </p:spPr>
      </p:pic>
      <p:sp>
        <p:nvSpPr>
          <p:cNvPr id="13" name="TextovéPole 12">
            <a:extLst>
              <a:ext uri="{FF2B5EF4-FFF2-40B4-BE49-F238E27FC236}">
                <a16:creationId xmlns:a16="http://schemas.microsoft.com/office/drawing/2014/main" id="{1DB65DF1-4E84-EA30-5A57-398324C1900A}"/>
              </a:ext>
            </a:extLst>
          </p:cNvPr>
          <p:cNvSpPr txBox="1"/>
          <p:nvPr/>
        </p:nvSpPr>
        <p:spPr>
          <a:xfrm>
            <a:off x="7117968" y="2023513"/>
            <a:ext cx="236458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6063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dobí 2010 - 2022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425732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Nadpis 1">
            <a:extLst>
              <a:ext uri="{FF2B5EF4-FFF2-40B4-BE49-F238E27FC236}">
                <a16:creationId xmlns:a16="http://schemas.microsoft.com/office/drawing/2014/main" id="{EA328CEC-C272-456D-B936-D7E722870E2A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57558" y="156024"/>
            <a:ext cx="11743706" cy="7747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F6063C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Po</a:t>
            </a: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F6063C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čet nových absolventů specializace „Všeobecné praktické lékařství“,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F6063C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kteří skutečně nastoupili do klinické praxe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DE4C03E7-9D8B-F8BA-778C-2A717B3A536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57558" y="872997"/>
            <a:ext cx="785178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zdravotnických pracovníků (NRZP) + Národní registr hrazených zdravotních služeb (NRHZS), stav k 31. 3. 2023</a:t>
            </a:r>
          </a:p>
        </p:txBody>
      </p:sp>
      <p:graphicFrame>
        <p:nvGraphicFramePr>
          <p:cNvPr id="2" name="Graf 1">
            <a:extLst>
              <a:ext uri="{FF2B5EF4-FFF2-40B4-BE49-F238E27FC236}">
                <a16:creationId xmlns:a16="http://schemas.microsoft.com/office/drawing/2014/main" id="{30CA1E9B-AF0F-C8A3-C226-0772C31DD949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6547432" y="1532099"/>
          <a:ext cx="5040000" cy="46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5" name="Obdélník 4">
            <a:extLst>
              <a:ext uri="{FF2B5EF4-FFF2-40B4-BE49-F238E27FC236}">
                <a16:creationId xmlns:a16="http://schemas.microsoft.com/office/drawing/2014/main" id="{E76DBC45-9013-C447-47D9-9FBED573CEA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737065" y="6212098"/>
            <a:ext cx="145443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k získání atestace</a:t>
            </a: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BD132D9E-4B6F-01F8-EB93-FE7A788C370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16200000">
            <a:off x="5684658" y="3404799"/>
            <a:ext cx="164686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stoupení pohlaví [%]</a:t>
            </a:r>
          </a:p>
        </p:txBody>
      </p:sp>
      <p:graphicFrame>
        <p:nvGraphicFramePr>
          <p:cNvPr id="16" name="Graf 15">
            <a:extLst>
              <a:ext uri="{FF2B5EF4-FFF2-40B4-BE49-F238E27FC236}">
                <a16:creationId xmlns:a16="http://schemas.microsoft.com/office/drawing/2014/main" id="{BF000AAE-405A-E7F6-C796-5DA406A01816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830188" y="1532099"/>
          <a:ext cx="5040000" cy="46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18" name="Obdélník 17">
            <a:extLst>
              <a:ext uri="{FF2B5EF4-FFF2-40B4-BE49-F238E27FC236}">
                <a16:creationId xmlns:a16="http://schemas.microsoft.com/office/drawing/2014/main" id="{BA68BAD4-BBB4-4D69-0AA0-F2DDD1008414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2932338" y="6212097"/>
            <a:ext cx="145443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k získání atestace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8D13E79A-011F-07BA-3E1E-C52A30E27599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 rot="16200000">
            <a:off x="83633" y="3404798"/>
            <a:ext cx="141442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atestovaných</a:t>
            </a:r>
          </a:p>
        </p:txBody>
      </p:sp>
      <p:graphicFrame>
        <p:nvGraphicFramePr>
          <p:cNvPr id="20" name="Tabulka 19">
            <a:extLst>
              <a:ext uri="{FF2B5EF4-FFF2-40B4-BE49-F238E27FC236}">
                <a16:creationId xmlns:a16="http://schemas.microsoft.com/office/drawing/2014/main" id="{22015AAB-2985-8A1D-064E-E91306E6239D}"/>
              </a:ext>
            </a:extLst>
          </p:cNvPr>
          <p:cNvGraphicFramePr>
            <a:graphicFrameLocks noGrp="1"/>
          </p:cNvGraphicFramePr>
          <p:nvPr>
            <p:custDataLst>
              <p:tags r:id="rId9"/>
            </p:custDataLst>
          </p:nvPr>
        </p:nvGraphicFramePr>
        <p:xfrm>
          <a:off x="7163294" y="1037648"/>
          <a:ext cx="4601981" cy="575876"/>
        </p:xfrm>
        <a:graphic>
          <a:graphicData uri="http://schemas.openxmlformats.org/drawingml/2006/table">
            <a:tbl>
              <a:tblPr/>
              <a:tblGrid>
                <a:gridCol w="33065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065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065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3065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3065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3065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30658">
                  <a:extLst>
                    <a:ext uri="{9D8B030D-6E8A-4147-A177-3AD203B41FA5}">
                      <a16:colId xmlns:a16="http://schemas.microsoft.com/office/drawing/2014/main" val="3511018083"/>
                    </a:ext>
                  </a:extLst>
                </a:gridCol>
                <a:gridCol w="330658">
                  <a:extLst>
                    <a:ext uri="{9D8B030D-6E8A-4147-A177-3AD203B41FA5}">
                      <a16:colId xmlns:a16="http://schemas.microsoft.com/office/drawing/2014/main" val="1519263388"/>
                    </a:ext>
                  </a:extLst>
                </a:gridCol>
                <a:gridCol w="33065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33065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330658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330658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330658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303427">
                  <a:extLst>
                    <a:ext uri="{9D8B030D-6E8A-4147-A177-3AD203B41FA5}">
                      <a16:colId xmlns:a16="http://schemas.microsoft.com/office/drawing/2014/main" val="313078532"/>
                    </a:ext>
                  </a:extLst>
                </a:gridCol>
              </a:tblGrid>
              <a:tr h="57587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9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8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94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1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1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06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90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87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93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9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0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98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</a:t>
                      </a: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vert="vert27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1" name="Obdélník 20">
            <a:extLst>
              <a:ext uri="{FF2B5EF4-FFF2-40B4-BE49-F238E27FC236}">
                <a16:creationId xmlns:a16="http://schemas.microsoft.com/office/drawing/2014/main" id="{1B174C8B-0EA0-0490-9E17-46E333133DD8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5221486" y="6435777"/>
            <a:ext cx="144016" cy="144016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Obdélník 23">
            <a:extLst>
              <a:ext uri="{FF2B5EF4-FFF2-40B4-BE49-F238E27FC236}">
                <a16:creationId xmlns:a16="http://schemas.microsoft.com/office/drawing/2014/main" id="{AD681B92-C24A-E2C2-20F4-09DA94F0046D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6293669" y="6430933"/>
            <a:ext cx="144016" cy="144016"/>
          </a:xfrm>
          <a:prstGeom prst="rect">
            <a:avLst/>
          </a:prstGeom>
          <a:solidFill>
            <a:srgbClr val="FF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CAB5AB26-85EE-218B-1FC0-8D50CC4A0568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5220061" y="6323119"/>
            <a:ext cx="8759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uži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F0B04964-308E-50B6-9573-2E59808BB156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6328340" y="6323119"/>
            <a:ext cx="8759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Ženy</a:t>
            </a:r>
          </a:p>
        </p:txBody>
      </p:sp>
    </p:spTree>
    <p:extLst>
      <p:ext uri="{BB962C8B-B14F-4D97-AF65-F5344CB8AC3E}">
        <p14:creationId xmlns:p14="http://schemas.microsoft.com/office/powerpoint/2010/main" val="76363390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Nadpis 1">
            <a:extLst>
              <a:ext uri="{FF2B5EF4-FFF2-40B4-BE49-F238E27FC236}">
                <a16:creationId xmlns:a16="http://schemas.microsoft.com/office/drawing/2014/main" id="{EA328CEC-C272-456D-B936-D7E722870E2A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74894" y="156024"/>
            <a:ext cx="11917106" cy="7747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F6063C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Počty absolventů a nově zařazených studentů specializac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F6063C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„Všeobecné praktické lékařství“ </a:t>
            </a:r>
          </a:p>
        </p:txBody>
      </p:sp>
      <p:sp>
        <p:nvSpPr>
          <p:cNvPr id="23" name="Obdélník 22">
            <a:extLst>
              <a:ext uri="{FF2B5EF4-FFF2-40B4-BE49-F238E27FC236}">
                <a16:creationId xmlns:a16="http://schemas.microsoft.com/office/drawing/2014/main" id="{3B48C64C-90E9-52A9-89FB-1D448757199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57218" y="1290074"/>
            <a:ext cx="348989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ty získaných specializací</a:t>
            </a:r>
          </a:p>
        </p:txBody>
      </p:sp>
      <p:graphicFrame>
        <p:nvGraphicFramePr>
          <p:cNvPr id="27" name="Graf 26">
            <a:extLst>
              <a:ext uri="{FF2B5EF4-FFF2-40B4-BE49-F238E27FC236}">
                <a16:creationId xmlns:a16="http://schemas.microsoft.com/office/drawing/2014/main" id="{869F3D6E-A7EE-10B9-DD21-F1A0730CD69C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4511762" y="1780004"/>
          <a:ext cx="3320505" cy="45832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28" name="Obdélník 27">
            <a:extLst>
              <a:ext uri="{FF2B5EF4-FFF2-40B4-BE49-F238E27FC236}">
                <a16:creationId xmlns:a16="http://schemas.microsoft.com/office/drawing/2014/main" id="{442C489C-96A7-8502-954E-80389E7F0DF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342371" y="1013075"/>
            <a:ext cx="359692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ty nově zařazených studentů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 specializace (kmen všeobecné praktické lékařství)</a:t>
            </a:r>
          </a:p>
        </p:txBody>
      </p:sp>
      <p:sp>
        <p:nvSpPr>
          <p:cNvPr id="30" name="Obdélník 29">
            <a:extLst>
              <a:ext uri="{FF2B5EF4-FFF2-40B4-BE49-F238E27FC236}">
                <a16:creationId xmlns:a16="http://schemas.microsoft.com/office/drawing/2014/main" id="{96ACE4A4-D03F-6436-A0FE-AE5D3E6098B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296367" y="6179052"/>
            <a:ext cx="207864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k zařazení do studia</a:t>
            </a:r>
          </a:p>
        </p:txBody>
      </p:sp>
      <p:sp>
        <p:nvSpPr>
          <p:cNvPr id="31" name="Obdélník 30">
            <a:extLst>
              <a:ext uri="{FF2B5EF4-FFF2-40B4-BE49-F238E27FC236}">
                <a16:creationId xmlns:a16="http://schemas.microsoft.com/office/drawing/2014/main" id="{433BF9A5-65A7-BEDE-D26B-3A9E4F4D4F1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 rot="16200000">
            <a:off x="2903881" y="3648807"/>
            <a:ext cx="291150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nově zařazených studentů</a:t>
            </a:r>
          </a:p>
        </p:txBody>
      </p:sp>
      <p:sp>
        <p:nvSpPr>
          <p:cNvPr id="33" name="Obdélník 32">
            <a:extLst>
              <a:ext uri="{FF2B5EF4-FFF2-40B4-BE49-F238E27FC236}">
                <a16:creationId xmlns:a16="http://schemas.microsoft.com/office/drawing/2014/main" id="{13522E1C-13D7-69F2-E8D1-1949F52122D4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8103637" y="1151575"/>
            <a:ext cx="405221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vydaných certifikátů o absolvování kmene všeobecné praktické lékařství</a:t>
            </a:r>
          </a:p>
        </p:txBody>
      </p:sp>
      <p:graphicFrame>
        <p:nvGraphicFramePr>
          <p:cNvPr id="37" name="Graf 36">
            <a:extLst>
              <a:ext uri="{FF2B5EF4-FFF2-40B4-BE49-F238E27FC236}">
                <a16:creationId xmlns:a16="http://schemas.microsoft.com/office/drawing/2014/main" id="{A2B114A6-30BE-4152-F15F-C04F39274407}"/>
              </a:ext>
            </a:extLst>
          </p:cNvPr>
          <p:cNvGraphicFramePr/>
          <p:nvPr>
            <p:custDataLst>
              <p:tags r:id="rId8"/>
            </p:custDataLst>
          </p:nvPr>
        </p:nvGraphicFramePr>
        <p:xfrm>
          <a:off x="8475516" y="1780004"/>
          <a:ext cx="3320505" cy="45832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38" name="Obdélník 37">
            <a:extLst>
              <a:ext uri="{FF2B5EF4-FFF2-40B4-BE49-F238E27FC236}">
                <a16:creationId xmlns:a16="http://schemas.microsoft.com/office/drawing/2014/main" id="{86171D74-2FBA-568B-3309-1DD5D3374A79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9242095" y="6179052"/>
            <a:ext cx="203850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k vydání certifikátu</a:t>
            </a: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A766F6FC-C323-7237-2670-6D65E445F0CA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5622752" y="6533829"/>
            <a:ext cx="56578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Evidence zdravotnických pracovníků (EZP), MZ ČR, stav k 16. 8. 2023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9" name="Graf 18">
            <a:extLst>
              <a:ext uri="{FF2B5EF4-FFF2-40B4-BE49-F238E27FC236}">
                <a16:creationId xmlns:a16="http://schemas.microsoft.com/office/drawing/2014/main" id="{AFACBBDB-7EF4-8505-993E-3BBCF1048DED}"/>
              </a:ext>
            </a:extLst>
          </p:cNvPr>
          <p:cNvGraphicFramePr/>
          <p:nvPr>
            <p:custDataLst>
              <p:tags r:id="rId11"/>
            </p:custDataLst>
          </p:nvPr>
        </p:nvGraphicFramePr>
        <p:xfrm>
          <a:off x="475176" y="1780004"/>
          <a:ext cx="3320505" cy="45832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20" name="Obdélník 19">
            <a:extLst>
              <a:ext uri="{FF2B5EF4-FFF2-40B4-BE49-F238E27FC236}">
                <a16:creationId xmlns:a16="http://schemas.microsoft.com/office/drawing/2014/main" id="{A7EA5E7A-F102-6D96-FC82-B8820FD09775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176772" y="6179052"/>
            <a:ext cx="216847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k získání specializace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07AA8055-0553-0CC3-75BC-551976B0C285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 rot="16200000">
            <a:off x="-929022" y="3648807"/>
            <a:ext cx="250882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získaných specializací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A36404DC-BAE1-C0B8-4B42-A5B0AFDAEFA2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209772" y="6510587"/>
            <a:ext cx="43362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zdravotnických pracovníků (NR-ZP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679232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Nadpis 1">
            <a:extLst>
              <a:ext uri="{FF2B5EF4-FFF2-40B4-BE49-F238E27FC236}">
                <a16:creationId xmlns:a16="http://schemas.microsoft.com/office/drawing/2014/main" id="{EA328CEC-C272-456D-B936-D7E722870E2A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57558" y="156024"/>
            <a:ext cx="11743706" cy="7747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F6063C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Počet zaměstnaných absolventů specializace „Všeobecné praktické lékařství“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5DF7B97F-F01A-CF5A-E104-FE842B6DD66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001817" y="1245143"/>
            <a:ext cx="65708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dělení dle druhu zařízení *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A1F3CB11-833A-ED99-2B14-E9660AD17CF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57557" y="810074"/>
            <a:ext cx="112010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finice: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	Počet lékařů, kteří po získání specializace „Všeobecné praktické lékařství“ nastoupili nebo pokračovali v zaměstnání. </a:t>
            </a:r>
            <a:b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	Započítáni pouze lékaři, kteří získali atestaci v letech 2010 až 2022.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3867CF17-E925-FEB9-9DF2-79067AF3C55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210952" y="6550223"/>
            <a:ext cx="87212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jedena osoba může pracovat ve více krajích a ve více typech zařízení.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C14C2E92-8E87-783A-305C-F3B8AB9F9218}"/>
              </a:ext>
            </a:extLst>
          </p:cNvPr>
          <p:cNvSpPr txBox="1"/>
          <p:nvPr/>
        </p:nvSpPr>
        <p:spPr>
          <a:xfrm>
            <a:off x="9827419" y="494945"/>
            <a:ext cx="236458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6063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dobí 2010 - 2022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810329C4-C80F-0D22-08B9-0DFF9FCCD650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257558" y="549147"/>
            <a:ext cx="785178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zdravotnických pracovníků (NRZP) + Národní registr hrazených zdravotních služeb (NRHZS), stav k 31. 3. 2023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9EAA0145-2AA5-799F-3C4F-69E8A071322E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2259836" y="5968928"/>
            <a:ext cx="753086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lkem absolventů specializace praktické lékařství v letech 2010-2022: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 40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-z toho zaměstnaných po atestaci: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 245 </a:t>
            </a: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93%)</a:t>
            </a:r>
            <a:endParaRPr kumimoji="0" lang="cs-CZ" sz="18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4" name="Tabulka 23">
            <a:extLst>
              <a:ext uri="{FF2B5EF4-FFF2-40B4-BE49-F238E27FC236}">
                <a16:creationId xmlns:a16="http://schemas.microsoft.com/office/drawing/2014/main" id="{3CD204C3-9EC6-4A87-6B8F-5B3E80E350EB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1488331" y="1554378"/>
          <a:ext cx="9124545" cy="4257615"/>
        </p:xfrm>
        <a:graphic>
          <a:graphicData uri="http://schemas.openxmlformats.org/drawingml/2006/table">
            <a:tbl>
              <a:tblPr/>
              <a:tblGrid>
                <a:gridCol w="2860429">
                  <a:extLst>
                    <a:ext uri="{9D8B030D-6E8A-4147-A177-3AD203B41FA5}">
                      <a16:colId xmlns:a16="http://schemas.microsoft.com/office/drawing/2014/main" val="548919774"/>
                    </a:ext>
                  </a:extLst>
                </a:gridCol>
                <a:gridCol w="1566029">
                  <a:extLst>
                    <a:ext uri="{9D8B030D-6E8A-4147-A177-3AD203B41FA5}">
                      <a16:colId xmlns:a16="http://schemas.microsoft.com/office/drawing/2014/main" val="2625961925"/>
                    </a:ext>
                  </a:extLst>
                </a:gridCol>
                <a:gridCol w="1566029">
                  <a:extLst>
                    <a:ext uri="{9D8B030D-6E8A-4147-A177-3AD203B41FA5}">
                      <a16:colId xmlns:a16="http://schemas.microsoft.com/office/drawing/2014/main" val="3890138220"/>
                    </a:ext>
                  </a:extLst>
                </a:gridCol>
                <a:gridCol w="1566029">
                  <a:extLst>
                    <a:ext uri="{9D8B030D-6E8A-4147-A177-3AD203B41FA5}">
                      <a16:colId xmlns:a16="http://schemas.microsoft.com/office/drawing/2014/main" val="3727187461"/>
                    </a:ext>
                  </a:extLst>
                </a:gridCol>
                <a:gridCol w="1566029">
                  <a:extLst>
                    <a:ext uri="{9D8B030D-6E8A-4147-A177-3AD203B41FA5}">
                      <a16:colId xmlns:a16="http://schemas.microsoft.com/office/drawing/2014/main" val="3114836847"/>
                    </a:ext>
                  </a:extLst>
                </a:gridCol>
              </a:tblGrid>
              <a:tr h="565254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zaměstnání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L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né ambulantní zaříze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/ jiné lůžkové zařízen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ikátní počet zaměstnaných absolventů v kraji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6090710"/>
                  </a:ext>
                </a:extLst>
              </a:tr>
              <a:tr h="24053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6103035"/>
                  </a:ext>
                </a:extLst>
              </a:tr>
              <a:tr h="24053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14300149"/>
                  </a:ext>
                </a:extLst>
              </a:tr>
              <a:tr h="24053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70521238"/>
                  </a:ext>
                </a:extLst>
              </a:tr>
              <a:tr h="24053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2587105"/>
                  </a:ext>
                </a:extLst>
              </a:tr>
              <a:tr h="24053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78652780"/>
                  </a:ext>
                </a:extLst>
              </a:tr>
              <a:tr h="24053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34307818"/>
                  </a:ext>
                </a:extLst>
              </a:tr>
              <a:tr h="24053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51934582"/>
                  </a:ext>
                </a:extLst>
              </a:tr>
              <a:tr h="24053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57262043"/>
                  </a:ext>
                </a:extLst>
              </a:tr>
              <a:tr h="24053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4228022"/>
                  </a:ext>
                </a:extLst>
              </a:tr>
              <a:tr h="24053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sočin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3301624"/>
                  </a:ext>
                </a:extLst>
              </a:tr>
              <a:tr h="24053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1628250"/>
                  </a:ext>
                </a:extLst>
              </a:tr>
              <a:tr h="24053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8456338"/>
                  </a:ext>
                </a:extLst>
              </a:tr>
              <a:tr h="24053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84225423"/>
                  </a:ext>
                </a:extLst>
              </a:tr>
              <a:tr h="24053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15587180"/>
                  </a:ext>
                </a:extLst>
              </a:tr>
              <a:tr h="24053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 7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03801216"/>
                  </a:ext>
                </a:extLst>
              </a:tr>
            </a:tbl>
          </a:graphicData>
        </a:graphic>
      </p:graphicFrame>
      <p:sp>
        <p:nvSpPr>
          <p:cNvPr id="25" name="Šipka: ohnutá 24">
            <a:extLst>
              <a:ext uri="{FF2B5EF4-FFF2-40B4-BE49-F238E27FC236}">
                <a16:creationId xmlns:a16="http://schemas.microsoft.com/office/drawing/2014/main" id="{819A1CE8-6FAF-C5E3-2E8B-E42966013A6E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 rot="10800000">
            <a:off x="9213085" y="5910556"/>
            <a:ext cx="719079" cy="680384"/>
          </a:xfrm>
          <a:prstGeom prst="bentArrow">
            <a:avLst>
              <a:gd name="adj1" fmla="val 25000"/>
              <a:gd name="adj2" fmla="val 20100"/>
              <a:gd name="adj3" fmla="val 25000"/>
              <a:gd name="adj4" fmla="val 43750"/>
            </a:avLst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Šipka: doprava 25">
            <a:extLst>
              <a:ext uri="{FF2B5EF4-FFF2-40B4-BE49-F238E27FC236}">
                <a16:creationId xmlns:a16="http://schemas.microsoft.com/office/drawing/2014/main" id="{42BA6D0D-191F-5D7C-B29C-B19FAE042500}"/>
              </a:ext>
            </a:extLst>
          </p:cNvPr>
          <p:cNvSpPr/>
          <p:nvPr/>
        </p:nvSpPr>
        <p:spPr>
          <a:xfrm rot="20300220">
            <a:off x="4023221" y="5600975"/>
            <a:ext cx="666750" cy="467255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17797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ovéPole 3">
            <a:extLst>
              <a:ext uri="{FF2B5EF4-FFF2-40B4-BE49-F238E27FC236}">
                <a16:creationId xmlns:a16="http://schemas.microsoft.com/office/drawing/2014/main" id="{49860AB8-FE9D-4347-825C-A325DF50C04C}"/>
              </a:ext>
            </a:extLst>
          </p:cNvPr>
          <p:cNvSpPr txBox="1"/>
          <p:nvPr/>
        </p:nvSpPr>
        <p:spPr>
          <a:xfrm>
            <a:off x="0" y="6106886"/>
            <a:ext cx="12192000" cy="74811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76CFB900-1A7A-32CB-6BB8-762DDF75ADD3}"/>
              </a:ext>
            </a:extLst>
          </p:cNvPr>
          <p:cNvSpPr txBox="1"/>
          <p:nvPr/>
        </p:nvSpPr>
        <p:spPr>
          <a:xfrm>
            <a:off x="704851" y="2371725"/>
            <a:ext cx="1090612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9000" b="1" dirty="0"/>
              <a:t>Děkuji za pozornost </a:t>
            </a:r>
          </a:p>
        </p:txBody>
      </p:sp>
    </p:spTree>
    <p:extLst>
      <p:ext uri="{BB962C8B-B14F-4D97-AF65-F5344CB8AC3E}">
        <p14:creationId xmlns:p14="http://schemas.microsoft.com/office/powerpoint/2010/main" val="1808174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ovéPole 4">
            <a:extLst>
              <a:ext uri="{FF2B5EF4-FFF2-40B4-BE49-F238E27FC236}">
                <a16:creationId xmlns:a16="http://schemas.microsoft.com/office/drawing/2014/main" id="{B72CAF3B-DAAC-8E41-DA67-06DB614957B9}"/>
              </a:ext>
            </a:extLst>
          </p:cNvPr>
          <p:cNvSpPr txBox="1"/>
          <p:nvPr/>
        </p:nvSpPr>
        <p:spPr>
          <a:xfrm>
            <a:off x="752475" y="291346"/>
            <a:ext cx="1045845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3800" b="1" dirty="0">
                <a:solidFill>
                  <a:srgbClr val="C00000"/>
                </a:solidFill>
              </a:rPr>
              <a:t>Stávající kapacita ambulantní péče PLDD v ČR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87BCAF01-7310-51BC-DA67-67E1E196D915}"/>
              </a:ext>
            </a:extLst>
          </p:cNvPr>
          <p:cNvSpPr txBox="1"/>
          <p:nvPr/>
        </p:nvSpPr>
        <p:spPr>
          <a:xfrm>
            <a:off x="752475" y="2046422"/>
            <a:ext cx="5438775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cs-CZ" sz="2800" b="1" dirty="0">
                <a:solidFill>
                  <a:srgbClr val="C00000"/>
                </a:solidFill>
              </a:rPr>
              <a:t>2 168 </a:t>
            </a:r>
            <a:r>
              <a:rPr lang="cs-CZ" sz="2800" dirty="0"/>
              <a:t>míst poskytování 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cs-CZ" sz="2800" dirty="0"/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cs-CZ" sz="2800" dirty="0"/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cs-CZ" sz="2800" dirty="0">
                <a:solidFill>
                  <a:srgbClr val="C00000"/>
                </a:solidFill>
              </a:rPr>
              <a:t>2 131 </a:t>
            </a:r>
            <a:r>
              <a:rPr lang="cs-CZ" sz="2800" dirty="0"/>
              <a:t>lékařů L2+L3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cs-CZ" sz="2800" dirty="0"/>
              <a:t>-&gt; </a:t>
            </a:r>
            <a:r>
              <a:rPr lang="cs-CZ" sz="2800" dirty="0">
                <a:solidFill>
                  <a:srgbClr val="C00000"/>
                </a:solidFill>
              </a:rPr>
              <a:t>1 870 </a:t>
            </a:r>
            <a:r>
              <a:rPr lang="cs-CZ" sz="2800" dirty="0"/>
              <a:t>úvazků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cs-CZ" sz="2800" dirty="0"/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cs-CZ" sz="2800" dirty="0"/>
              <a:t>Průměrný počet L2+L3 na 1 místo poskytování: 0,98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298042F8-124B-C274-1DA1-B30F5653773F}"/>
              </a:ext>
            </a:extLst>
          </p:cNvPr>
          <p:cNvSpPr txBox="1"/>
          <p:nvPr/>
        </p:nvSpPr>
        <p:spPr>
          <a:xfrm>
            <a:off x="6695970" y="2046422"/>
            <a:ext cx="509587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cs-CZ" sz="2800" dirty="0"/>
              <a:t>Pacienti v kmeni celkem:           </a:t>
            </a:r>
            <a:r>
              <a:rPr lang="cs-CZ" sz="2800" b="1" dirty="0">
                <a:solidFill>
                  <a:srgbClr val="C00000"/>
                </a:solidFill>
              </a:rPr>
              <a:t>2 034 108</a:t>
            </a:r>
          </a:p>
          <a:p>
            <a:pPr marL="914400" lvl="1" indent="-457200">
              <a:buFont typeface="Wingdings" panose="05000000000000000000" pitchFamily="2" charset="2"/>
              <a:buChar char="§"/>
            </a:pPr>
            <a:r>
              <a:rPr lang="cs-CZ" sz="2800" dirty="0"/>
              <a:t>z toho 27% děti do 4 let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44B7797-0726-9AA8-F256-5EB32981EF6A}"/>
              </a:ext>
            </a:extLst>
          </p:cNvPr>
          <p:cNvSpPr txBox="1"/>
          <p:nvPr/>
        </p:nvSpPr>
        <p:spPr>
          <a:xfrm>
            <a:off x="6676918" y="4692469"/>
            <a:ext cx="50958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cs-CZ" sz="2800" dirty="0"/>
              <a:t>Průměrný počet pacientů na 1 úvazek L2 + L3: </a:t>
            </a:r>
            <a:r>
              <a:rPr lang="cs-CZ" sz="2800" b="1" dirty="0">
                <a:solidFill>
                  <a:srgbClr val="C00000"/>
                </a:solidFill>
              </a:rPr>
              <a:t>1 087</a:t>
            </a:r>
            <a:endParaRPr lang="cs-CZ" sz="2800" dirty="0">
              <a:solidFill>
                <a:srgbClr val="C00000"/>
              </a:solidFill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B0F10D8E-02B8-9B85-8173-71BEF8D107B0}"/>
              </a:ext>
            </a:extLst>
          </p:cNvPr>
          <p:cNvSpPr txBox="1"/>
          <p:nvPr/>
        </p:nvSpPr>
        <p:spPr>
          <a:xfrm>
            <a:off x="6676919" y="3642426"/>
            <a:ext cx="50958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cs-CZ" sz="2800" dirty="0"/>
              <a:t>Průměrný počet pacientů na 1 místo poskytování: </a:t>
            </a:r>
            <a:r>
              <a:rPr lang="cs-CZ" sz="2800" b="1" dirty="0">
                <a:solidFill>
                  <a:srgbClr val="C00000"/>
                </a:solidFill>
              </a:rPr>
              <a:t>938</a:t>
            </a:r>
          </a:p>
        </p:txBody>
      </p:sp>
    </p:spTree>
    <p:extLst>
      <p:ext uri="{BB962C8B-B14F-4D97-AF65-F5344CB8AC3E}">
        <p14:creationId xmlns:p14="http://schemas.microsoft.com/office/powerpoint/2010/main" val="2924457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ovéPole 3">
            <a:extLst>
              <a:ext uri="{FF2B5EF4-FFF2-40B4-BE49-F238E27FC236}">
                <a16:creationId xmlns:a16="http://schemas.microsoft.com/office/drawing/2014/main" id="{49860AB8-FE9D-4347-825C-A325DF50C04C}"/>
              </a:ext>
            </a:extLst>
          </p:cNvPr>
          <p:cNvSpPr txBox="1"/>
          <p:nvPr/>
        </p:nvSpPr>
        <p:spPr>
          <a:xfrm>
            <a:off x="0" y="6106886"/>
            <a:ext cx="12192000" cy="74811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D4DE167A-7F89-4000-A1CC-E8DB9BE67EB4}"/>
              </a:ext>
            </a:extLst>
          </p:cNvPr>
          <p:cNvSpPr txBox="1"/>
          <p:nvPr/>
        </p:nvSpPr>
        <p:spPr>
          <a:xfrm>
            <a:off x="272435" y="205291"/>
            <a:ext cx="10515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elkové hodnocení pokrytí populace </a:t>
            </a:r>
          </a:p>
        </p:txBody>
      </p:sp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77F731E3-5A4C-55A8-C182-141C7DC989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3655618"/>
              </p:ext>
            </p:extLst>
          </p:nvPr>
        </p:nvGraphicFramePr>
        <p:xfrm>
          <a:off x="438140" y="811240"/>
          <a:ext cx="11481425" cy="5486400"/>
        </p:xfrm>
        <a:graphic>
          <a:graphicData uri="http://schemas.openxmlformats.org/drawingml/2006/table">
            <a:tbl>
              <a:tblPr firstRow="1" lastRow="1">
                <a:tableStyleId>{9D7B26C5-4107-4FEC-AEDC-1716B250A1EF}</a:tableStyleId>
              </a:tblPr>
              <a:tblGrid>
                <a:gridCol w="4719618">
                  <a:extLst>
                    <a:ext uri="{9D8B030D-6E8A-4147-A177-3AD203B41FA5}">
                      <a16:colId xmlns:a16="http://schemas.microsoft.com/office/drawing/2014/main" val="585360492"/>
                    </a:ext>
                  </a:extLst>
                </a:gridCol>
                <a:gridCol w="2465122">
                  <a:extLst>
                    <a:ext uri="{9D8B030D-6E8A-4147-A177-3AD203B41FA5}">
                      <a16:colId xmlns:a16="http://schemas.microsoft.com/office/drawing/2014/main" val="394128403"/>
                    </a:ext>
                  </a:extLst>
                </a:gridCol>
                <a:gridCol w="2265415">
                  <a:extLst>
                    <a:ext uri="{9D8B030D-6E8A-4147-A177-3AD203B41FA5}">
                      <a16:colId xmlns:a16="http://schemas.microsoft.com/office/drawing/2014/main" val="2419409717"/>
                    </a:ext>
                  </a:extLst>
                </a:gridCol>
                <a:gridCol w="2031270">
                  <a:extLst>
                    <a:ext uri="{9D8B030D-6E8A-4147-A177-3AD203B41FA5}">
                      <a16:colId xmlns:a16="http://schemas.microsoft.com/office/drawing/2014/main" val="1248665325"/>
                    </a:ext>
                  </a:extLst>
                </a:gridCol>
              </a:tblGrid>
              <a:tr h="840530">
                <a:tc>
                  <a:txBody>
                    <a:bodyPr/>
                    <a:lstStyle/>
                    <a:p>
                      <a:pPr algn="l" fontAlgn="ctr"/>
                      <a:r>
                        <a:rPr lang="cs-CZ" sz="2000" u="none" strike="noStrike" dirty="0">
                          <a:effectLst/>
                        </a:rPr>
                        <a:t>Kraj</a:t>
                      </a:r>
                      <a:endParaRPr lang="cs-CZ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2000" u="none" strike="noStrike" dirty="0">
                          <a:effectLst/>
                        </a:rPr>
                        <a:t>obyvatelé </a:t>
                      </a:r>
                    </a:p>
                    <a:p>
                      <a:pPr algn="l" fontAlgn="ctr"/>
                      <a:r>
                        <a:rPr lang="cs-CZ" sz="2000" u="none" strike="noStrike" dirty="0">
                          <a:effectLst/>
                        </a:rPr>
                        <a:t>k 31.12.2022 </a:t>
                      </a:r>
                      <a:br>
                        <a:rPr lang="cs-CZ" sz="2000" u="none" strike="noStrike" dirty="0">
                          <a:effectLst/>
                        </a:rPr>
                      </a:br>
                      <a:r>
                        <a:rPr lang="cs-CZ" sz="2000" u="none" strike="noStrike" dirty="0">
                          <a:effectLst/>
                        </a:rPr>
                        <a:t>věk 0-19</a:t>
                      </a:r>
                      <a:endParaRPr lang="cs-CZ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2000" u="none" strike="noStrike" dirty="0">
                          <a:effectLst/>
                        </a:rPr>
                        <a:t>D</a:t>
                      </a:r>
                      <a:r>
                        <a:rPr lang="it-IT" sz="2000" u="none" strike="noStrike" dirty="0">
                          <a:effectLst/>
                        </a:rPr>
                        <a:t>ěti u PL </a:t>
                      </a:r>
                      <a:endParaRPr lang="cs-CZ" sz="2000" u="none" strike="noStrike" dirty="0">
                        <a:effectLst/>
                      </a:endParaRPr>
                    </a:p>
                    <a:p>
                      <a:pPr algn="l" fontAlgn="ctr"/>
                      <a:r>
                        <a:rPr lang="it-IT" sz="2000" u="none" strike="noStrike" dirty="0">
                          <a:effectLst/>
                        </a:rPr>
                        <a:t>pro dospělé</a:t>
                      </a:r>
                      <a:endParaRPr lang="it-IT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2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Děti pravděpodobně  </a:t>
                      </a:r>
                    </a:p>
                    <a:p>
                      <a:pPr algn="l" fontAlgn="ctr"/>
                      <a:r>
                        <a:rPr lang="cs-CZ" sz="2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bez kapitace</a:t>
                      </a:r>
                      <a:endParaRPr lang="cs-CZ" sz="20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56189646"/>
                  </a:ext>
                </a:extLst>
              </a:tr>
              <a:tr h="280177"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effectLst/>
                        </a:rPr>
                        <a:t>Hlavní město Praha</a:t>
                      </a:r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effectLst/>
                        </a:rPr>
                        <a:t>284 794 </a:t>
                      </a:r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effectLst/>
                        </a:rPr>
                        <a:t>9 307 </a:t>
                      </a:r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11 311 </a:t>
                      </a:r>
                      <a:endParaRPr lang="cs-CZ" sz="20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52751298"/>
                  </a:ext>
                </a:extLst>
              </a:tr>
              <a:tr h="280177"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effectLst/>
                        </a:rPr>
                        <a:t>Středočeský kraj</a:t>
                      </a:r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effectLst/>
                        </a:rPr>
                        <a:t>336 986 </a:t>
                      </a:r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effectLst/>
                        </a:rPr>
                        <a:t>10 621 </a:t>
                      </a:r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59 120 </a:t>
                      </a:r>
                      <a:endParaRPr lang="cs-CZ" sz="20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36118261"/>
                  </a:ext>
                </a:extLst>
              </a:tr>
              <a:tr h="280177"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effectLst/>
                        </a:rPr>
                        <a:t>Jihočeský kraj</a:t>
                      </a:r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effectLst/>
                        </a:rPr>
                        <a:t>137 810 </a:t>
                      </a:r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effectLst/>
                        </a:rPr>
                        <a:t>5 113 </a:t>
                      </a:r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9 783 </a:t>
                      </a:r>
                      <a:endParaRPr lang="cs-CZ" sz="20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988414945"/>
                  </a:ext>
                </a:extLst>
              </a:tr>
              <a:tr h="280177"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effectLst/>
                        </a:rPr>
                        <a:t>Plzeňský kraj</a:t>
                      </a:r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effectLst/>
                        </a:rPr>
                        <a:t>125 889 </a:t>
                      </a:r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effectLst/>
                        </a:rPr>
                        <a:t>5 169 </a:t>
                      </a:r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11 608 </a:t>
                      </a:r>
                      <a:endParaRPr lang="cs-CZ" sz="20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945418097"/>
                  </a:ext>
                </a:extLst>
              </a:tr>
              <a:tr h="280177"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effectLst/>
                        </a:rPr>
                        <a:t>Karlovarský kraj</a:t>
                      </a:r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effectLst/>
                        </a:rPr>
                        <a:t>59 670 </a:t>
                      </a:r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effectLst/>
                        </a:rPr>
                        <a:t>2 617 </a:t>
                      </a:r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7 983 </a:t>
                      </a:r>
                      <a:endParaRPr lang="cs-CZ" sz="20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152561124"/>
                  </a:ext>
                </a:extLst>
              </a:tr>
              <a:tr h="280177"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effectLst/>
                        </a:rPr>
                        <a:t>Ústecký kraj</a:t>
                      </a:r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effectLst/>
                        </a:rPr>
                        <a:t>173 721 </a:t>
                      </a:r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effectLst/>
                        </a:rPr>
                        <a:t>6 641 </a:t>
                      </a:r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15 316 </a:t>
                      </a:r>
                      <a:endParaRPr lang="cs-CZ" sz="20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25533997"/>
                  </a:ext>
                </a:extLst>
              </a:tr>
              <a:tr h="280177"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effectLst/>
                        </a:rPr>
                        <a:t>Liberecký kraj</a:t>
                      </a:r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effectLst/>
                        </a:rPr>
                        <a:t>96 770 </a:t>
                      </a:r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effectLst/>
                        </a:rPr>
                        <a:t>4 208 </a:t>
                      </a:r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7 683 </a:t>
                      </a:r>
                      <a:endParaRPr lang="cs-CZ" sz="20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541559206"/>
                  </a:ext>
                </a:extLst>
              </a:tr>
              <a:tr h="280177"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effectLst/>
                        </a:rPr>
                        <a:t>Královéhradecký kraj</a:t>
                      </a:r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effectLst/>
                        </a:rPr>
                        <a:t>116 323 </a:t>
                      </a:r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effectLst/>
                        </a:rPr>
                        <a:t>4 953 </a:t>
                      </a:r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5 541 </a:t>
                      </a:r>
                      <a:endParaRPr lang="cs-CZ" sz="20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322613771"/>
                  </a:ext>
                </a:extLst>
              </a:tr>
              <a:tr h="280177"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effectLst/>
                        </a:rPr>
                        <a:t>Pardubický kraj</a:t>
                      </a:r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effectLst/>
                        </a:rPr>
                        <a:t>112 958 </a:t>
                      </a:r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effectLst/>
                        </a:rPr>
                        <a:t>4 708 </a:t>
                      </a:r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10 473 </a:t>
                      </a:r>
                      <a:endParaRPr lang="cs-CZ" sz="20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002547221"/>
                  </a:ext>
                </a:extLst>
              </a:tr>
              <a:tr h="280177"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effectLst/>
                        </a:rPr>
                        <a:t>Kraj Vysočina</a:t>
                      </a:r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effectLst/>
                        </a:rPr>
                        <a:t>108 190 </a:t>
                      </a:r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effectLst/>
                        </a:rPr>
                        <a:t>5 421 </a:t>
                      </a:r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7 318 </a:t>
                      </a:r>
                      <a:endParaRPr lang="cs-CZ" sz="20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37242254"/>
                  </a:ext>
                </a:extLst>
              </a:tr>
              <a:tr h="280177"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effectLst/>
                        </a:rPr>
                        <a:t>Jihomoravský kraj</a:t>
                      </a:r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effectLst/>
                        </a:rPr>
                        <a:t>260 760 </a:t>
                      </a:r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effectLst/>
                        </a:rPr>
                        <a:t>10 321 </a:t>
                      </a:r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16 757 </a:t>
                      </a:r>
                      <a:endParaRPr lang="cs-CZ" sz="20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887813962"/>
                  </a:ext>
                </a:extLst>
              </a:tr>
              <a:tr h="280177"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effectLst/>
                        </a:rPr>
                        <a:t>Olomoucký kraj</a:t>
                      </a:r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effectLst/>
                        </a:rPr>
                        <a:t>131 894 </a:t>
                      </a:r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effectLst/>
                        </a:rPr>
                        <a:t>5 791 </a:t>
                      </a:r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5 839 </a:t>
                      </a:r>
                      <a:endParaRPr lang="cs-CZ" sz="20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97059106"/>
                  </a:ext>
                </a:extLst>
              </a:tr>
              <a:tr h="280177"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effectLst/>
                        </a:rPr>
                        <a:t>Zlínský kraj</a:t>
                      </a:r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effectLst/>
                        </a:rPr>
                        <a:t>118 200 </a:t>
                      </a:r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effectLst/>
                        </a:rPr>
                        <a:t>4 730 </a:t>
                      </a:r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5 224 </a:t>
                      </a:r>
                      <a:endParaRPr lang="cs-CZ" sz="20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753481302"/>
                  </a:ext>
                </a:extLst>
              </a:tr>
              <a:tr h="280177"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effectLst/>
                        </a:rPr>
                        <a:t>Moravskoslezský kraj</a:t>
                      </a:r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effectLst/>
                        </a:rPr>
                        <a:t>243 532 </a:t>
                      </a:r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effectLst/>
                        </a:rPr>
                        <a:t>11 872 </a:t>
                      </a:r>
                      <a:endParaRPr lang="cs-CZ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7 961 </a:t>
                      </a:r>
                      <a:endParaRPr lang="cs-CZ" sz="20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643537603"/>
                  </a:ext>
                </a:extLst>
              </a:tr>
              <a:tr h="280177"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effectLst/>
                        </a:rPr>
                        <a:t>ČR</a:t>
                      </a:r>
                      <a:endParaRPr lang="cs-CZ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effectLst/>
                        </a:rPr>
                        <a:t>2 307 497 </a:t>
                      </a:r>
                      <a:endParaRPr lang="cs-CZ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effectLst/>
                        </a:rPr>
                        <a:t>91 472 </a:t>
                      </a:r>
                      <a:endParaRPr lang="cs-CZ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2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181 917 </a:t>
                      </a:r>
                      <a:endParaRPr lang="cs-CZ" sz="20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30736510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683CE036-1FEA-5DB3-8379-8FE27EA85108}"/>
              </a:ext>
            </a:extLst>
          </p:cNvPr>
          <p:cNvSpPr txBox="1"/>
          <p:nvPr/>
        </p:nvSpPr>
        <p:spPr>
          <a:xfrm>
            <a:off x="8311831" y="6414965"/>
            <a:ext cx="17252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73 389</a:t>
            </a:r>
          </a:p>
        </p:txBody>
      </p:sp>
    </p:spTree>
    <p:extLst>
      <p:ext uri="{BB962C8B-B14F-4D97-AF65-F5344CB8AC3E}">
        <p14:creationId xmlns:p14="http://schemas.microsoft.com/office/powerpoint/2010/main" val="6485235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dpis 4">
            <a:extLst>
              <a:ext uri="{FF2B5EF4-FFF2-40B4-BE49-F238E27FC236}">
                <a16:creationId xmlns:a16="http://schemas.microsoft.com/office/drawing/2014/main" id="{06040307-9229-2B06-A5C1-41F414AF5E4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dirty="0"/>
              <a:t>Mezinárodní srovnání počtu VŠEOBECNÝCH PEDIATRŮ </a:t>
            </a:r>
            <a:br>
              <a:rPr lang="cs-CZ" dirty="0"/>
            </a:br>
            <a:r>
              <a:rPr lang="cs-CZ" dirty="0"/>
              <a:t>na 100 000 obyvatel v roce 2020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BBACD57D-E4C8-B7A5-97CA-190EC8CA7E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50308121"/>
              </p:ext>
            </p:extLst>
          </p:nvPr>
        </p:nvGraphicFramePr>
        <p:xfrm>
          <a:off x="259882" y="1357159"/>
          <a:ext cx="11434813" cy="4581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80FCE3DE-ACCA-7BCB-1FC4-5FA4D45D9196}"/>
              </a:ext>
            </a:extLst>
          </p:cNvPr>
          <p:cNvSpPr txBox="1"/>
          <p:nvPr/>
        </p:nvSpPr>
        <p:spPr>
          <a:xfrm>
            <a:off x="10594731" y="1218659"/>
            <a:ext cx="15972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Eurostat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DDFDD493-B74E-3F51-D270-00DDA4D4BF7F}"/>
              </a:ext>
            </a:extLst>
          </p:cNvPr>
          <p:cNvSpPr txBox="1"/>
          <p:nvPr/>
        </p:nvSpPr>
        <p:spPr>
          <a:xfrm>
            <a:off x="4528038" y="6539717"/>
            <a:ext cx="75003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4"/>
              </a:rPr>
              <a:t>https://ec.europa.eu/eurostat/databrowser/view/HLTH_RS_SPEC__custom_6422816/default/table?lang=en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AE788C67-1350-5A97-408E-F35130C8FEC0}"/>
              </a:ext>
            </a:extLst>
          </p:cNvPr>
          <p:cNvSpPr txBox="1"/>
          <p:nvPr/>
        </p:nvSpPr>
        <p:spPr>
          <a:xfrm>
            <a:off x="163629" y="6003843"/>
            <a:ext cx="63815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Z důvodu nedostupnosti dat byl použit údaj za rok 2019.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2226AAFD-B7C9-00BB-931F-14BE1AB0DAAF}"/>
              </a:ext>
            </a:extLst>
          </p:cNvPr>
          <p:cNvSpPr/>
          <p:nvPr/>
        </p:nvSpPr>
        <p:spPr>
          <a:xfrm>
            <a:off x="7370064" y="3429000"/>
            <a:ext cx="294640" cy="1463040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31907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textu 4">
            <a:extLst>
              <a:ext uri="{FF2B5EF4-FFF2-40B4-BE49-F238E27FC236}">
                <a16:creationId xmlns:a16="http://schemas.microsoft.com/office/drawing/2014/main" id="{85DF8549-49A9-4045-9440-3C137B807487}"/>
              </a:ext>
            </a:extLst>
          </p:cNvPr>
          <p:cNvSpPr txBox="1">
            <a:spLocks/>
          </p:cNvSpPr>
          <p:nvPr/>
        </p:nvSpPr>
        <p:spPr>
          <a:xfrm>
            <a:off x="100676" y="4504278"/>
            <a:ext cx="10002103" cy="1423411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s-CZ" sz="4000" b="1" dirty="0">
                <a:solidFill>
                  <a:srgbClr val="C00000"/>
                </a:solidFill>
              </a:rPr>
              <a:t>Jak zásadně je ohrožena péče PLDD demografickým stárnutím populace lékařů? </a:t>
            </a:r>
          </a:p>
        </p:txBody>
      </p:sp>
    </p:spTree>
    <p:extLst>
      <p:ext uri="{BB962C8B-B14F-4D97-AF65-F5344CB8AC3E}">
        <p14:creationId xmlns:p14="http://schemas.microsoft.com/office/powerpoint/2010/main" val="36113437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8"/>
          <p:cNvSpPr>
            <a:spLocks noGrp="1"/>
          </p:cNvSpPr>
          <p:nvPr>
            <p:ph type="title"/>
          </p:nvPr>
        </p:nvSpPr>
        <p:spPr>
          <a:xfrm>
            <a:off x="341044" y="150163"/>
            <a:ext cx="11144250" cy="569598"/>
          </a:xfrm>
        </p:spPr>
        <p:txBody>
          <a:bodyPr anchor="t">
            <a:noAutofit/>
          </a:bodyPr>
          <a:lstStyle/>
          <a:p>
            <a:r>
              <a:rPr lang="cs-CZ" sz="2800" b="1" dirty="0">
                <a:solidFill>
                  <a:srgbClr val="C00000"/>
                </a:solidFill>
                <a:latin typeface="+mn-lt"/>
              </a:rPr>
              <a:t>Praktičtí lékaři pro děti a dorost aktivní v roce 2022 podle věku a pohlaví</a:t>
            </a:r>
          </a:p>
        </p:txBody>
      </p:sp>
      <p:graphicFrame>
        <p:nvGraphicFramePr>
          <p:cNvPr id="20" name="Graf 19">
            <a:extLst>
              <a:ext uri="{FF2B5EF4-FFF2-40B4-BE49-F238E27FC236}">
                <a16:creationId xmlns:a16="http://schemas.microsoft.com/office/drawing/2014/main" id="{7E45D4C3-2939-42FD-8E3A-28D76CD3916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99779224"/>
              </p:ext>
            </p:extLst>
          </p:nvPr>
        </p:nvGraphicFramePr>
        <p:xfrm>
          <a:off x="434687" y="2962905"/>
          <a:ext cx="4941985" cy="370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5" name="Obdélník 24">
            <a:extLst>
              <a:ext uri="{FF2B5EF4-FFF2-40B4-BE49-F238E27FC236}">
                <a16:creationId xmlns:a16="http://schemas.microsoft.com/office/drawing/2014/main" id="{EA6A3B37-5462-446B-87D6-C1BAD7E52537}"/>
              </a:ext>
            </a:extLst>
          </p:cNvPr>
          <p:cNvSpPr/>
          <p:nvPr/>
        </p:nvSpPr>
        <p:spPr>
          <a:xfrm rot="16200000">
            <a:off x="-256940" y="4491684"/>
            <a:ext cx="119596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bsolutní počet</a:t>
            </a:r>
          </a:p>
        </p:txBody>
      </p:sp>
      <p:graphicFrame>
        <p:nvGraphicFramePr>
          <p:cNvPr id="26" name="Graf 25">
            <a:extLst>
              <a:ext uri="{FF2B5EF4-FFF2-40B4-BE49-F238E27FC236}">
                <a16:creationId xmlns:a16="http://schemas.microsoft.com/office/drawing/2014/main" id="{DDC12121-E348-406B-878C-AD58F443205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27086533"/>
              </p:ext>
            </p:extLst>
          </p:nvPr>
        </p:nvGraphicFramePr>
        <p:xfrm>
          <a:off x="6620033" y="2943469"/>
          <a:ext cx="5137280" cy="37209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7" name="Obdélník 26">
            <a:extLst>
              <a:ext uri="{FF2B5EF4-FFF2-40B4-BE49-F238E27FC236}">
                <a16:creationId xmlns:a16="http://schemas.microsoft.com/office/drawing/2014/main" id="{BA36FBF8-0C8F-4CB7-888A-062417DE16E1}"/>
              </a:ext>
            </a:extLst>
          </p:cNvPr>
          <p:cNvSpPr/>
          <p:nvPr/>
        </p:nvSpPr>
        <p:spPr>
          <a:xfrm rot="16200000">
            <a:off x="5928407" y="4629180"/>
            <a:ext cx="119596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bsolutní počet</a:t>
            </a:r>
          </a:p>
        </p:txBody>
      </p:sp>
      <p:sp>
        <p:nvSpPr>
          <p:cNvPr id="28" name="Obdélník 27">
            <a:extLst>
              <a:ext uri="{FF2B5EF4-FFF2-40B4-BE49-F238E27FC236}">
                <a16:creationId xmlns:a16="http://schemas.microsoft.com/office/drawing/2014/main" id="{603F4F12-EADC-4040-A1C3-FB66E651AC66}"/>
              </a:ext>
            </a:extLst>
          </p:cNvPr>
          <p:cNvSpPr/>
          <p:nvPr/>
        </p:nvSpPr>
        <p:spPr>
          <a:xfrm>
            <a:off x="5884633" y="1076826"/>
            <a:ext cx="161723" cy="158261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Obdélník 28">
            <a:extLst>
              <a:ext uri="{FF2B5EF4-FFF2-40B4-BE49-F238E27FC236}">
                <a16:creationId xmlns:a16="http://schemas.microsoft.com/office/drawing/2014/main" id="{CC10D914-0C01-43C2-9324-B55E3010565D}"/>
              </a:ext>
            </a:extLst>
          </p:cNvPr>
          <p:cNvSpPr/>
          <p:nvPr/>
        </p:nvSpPr>
        <p:spPr>
          <a:xfrm>
            <a:off x="7820343" y="1076826"/>
            <a:ext cx="161723" cy="158261"/>
          </a:xfrm>
          <a:prstGeom prst="rect">
            <a:avLst/>
          </a:prstGeom>
          <a:solidFill>
            <a:srgbClr val="FF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Obdélník 29">
            <a:extLst>
              <a:ext uri="{FF2B5EF4-FFF2-40B4-BE49-F238E27FC236}">
                <a16:creationId xmlns:a16="http://schemas.microsoft.com/office/drawing/2014/main" id="{F2F49FC0-370C-4434-B0D6-4D509EB9E761}"/>
              </a:ext>
            </a:extLst>
          </p:cNvPr>
          <p:cNvSpPr/>
          <p:nvPr/>
        </p:nvSpPr>
        <p:spPr>
          <a:xfrm>
            <a:off x="1105543" y="2783311"/>
            <a:ext cx="37952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ěk lékařů celkem</a:t>
            </a:r>
          </a:p>
        </p:txBody>
      </p:sp>
      <p:sp>
        <p:nvSpPr>
          <p:cNvPr id="31" name="Obdélník 30">
            <a:extLst>
              <a:ext uri="{FF2B5EF4-FFF2-40B4-BE49-F238E27FC236}">
                <a16:creationId xmlns:a16="http://schemas.microsoft.com/office/drawing/2014/main" id="{01BE7853-6E73-4C8E-9409-3DC416969BB7}"/>
              </a:ext>
            </a:extLst>
          </p:cNvPr>
          <p:cNvSpPr/>
          <p:nvPr/>
        </p:nvSpPr>
        <p:spPr>
          <a:xfrm>
            <a:off x="7566095" y="2783311"/>
            <a:ext cx="37952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ěk lékařů podle pohlaví</a:t>
            </a:r>
          </a:p>
        </p:txBody>
      </p:sp>
      <p:graphicFrame>
        <p:nvGraphicFramePr>
          <p:cNvPr id="32" name="Tabulka 31">
            <a:extLst>
              <a:ext uri="{FF2B5EF4-FFF2-40B4-BE49-F238E27FC236}">
                <a16:creationId xmlns:a16="http://schemas.microsoft.com/office/drawing/2014/main" id="{A9E47A74-A553-4178-B0C1-A6E18E5D7E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4418227"/>
              </p:ext>
            </p:extLst>
          </p:nvPr>
        </p:nvGraphicFramePr>
        <p:xfrm>
          <a:off x="2066979" y="992507"/>
          <a:ext cx="7172271" cy="1513123"/>
        </p:xfrm>
        <a:graphic>
          <a:graphicData uri="http://schemas.openxmlformats.org/drawingml/2006/table">
            <a:tbl>
              <a:tblPr/>
              <a:tblGrid>
                <a:gridCol w="13274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4828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48286">
                  <a:extLst>
                    <a:ext uri="{9D8B030D-6E8A-4147-A177-3AD203B41FA5}">
                      <a16:colId xmlns:a16="http://schemas.microsoft.com/office/drawing/2014/main" val="2922683316"/>
                    </a:ext>
                  </a:extLst>
                </a:gridCol>
                <a:gridCol w="1948286">
                  <a:extLst>
                    <a:ext uri="{9D8B030D-6E8A-4147-A177-3AD203B41FA5}">
                      <a16:colId xmlns:a16="http://schemas.microsoft.com/office/drawing/2014/main" val="423885553"/>
                    </a:ext>
                  </a:extLst>
                </a:gridCol>
              </a:tblGrid>
              <a:tr h="308055">
                <a:tc>
                  <a:txBody>
                    <a:bodyPr/>
                    <a:lstStyle/>
                    <a:p>
                      <a:pPr algn="l" fontAlgn="b"/>
                      <a:endParaRPr lang="cs-CZ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elkem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uži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Ženy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6606430"/>
                  </a:ext>
                </a:extLst>
              </a:tr>
              <a:tr h="30805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ůměrný věk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075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/>
                        </a:rPr>
                        <a:t>60 a více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47,1 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52,3 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46,2 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8055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65 a více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2,5 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6,1 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1,9 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" name="TextBox 6">
            <a:extLst>
              <a:ext uri="{FF2B5EF4-FFF2-40B4-BE49-F238E27FC236}">
                <a16:creationId xmlns:a16="http://schemas.microsoft.com/office/drawing/2014/main" id="{D41D853E-92BF-8FFC-1326-15F3ADCDAB1D}"/>
              </a:ext>
            </a:extLst>
          </p:cNvPr>
          <p:cNvSpPr txBox="1"/>
          <p:nvPr/>
        </p:nvSpPr>
        <p:spPr>
          <a:xfrm>
            <a:off x="321526" y="598796"/>
            <a:ext cx="115344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finice: všichni aktivní lékaři se specializací pediatr nebo PLDD a/nebo lékaři pracující v samostatné ordinaci PLDD, stav k 31.12.2022.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49503032-9C07-0841-4B25-6FCCEAF99C38}"/>
              </a:ext>
            </a:extLst>
          </p:cNvPr>
          <p:cNvSpPr txBox="1"/>
          <p:nvPr/>
        </p:nvSpPr>
        <p:spPr>
          <a:xfrm>
            <a:off x="2905679" y="6461355"/>
            <a:ext cx="609742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zdravotnických pracovníků (NR-ZP)</a:t>
            </a:r>
          </a:p>
        </p:txBody>
      </p:sp>
    </p:spTree>
    <p:extLst>
      <p:ext uri="{BB962C8B-B14F-4D97-AF65-F5344CB8AC3E}">
        <p14:creationId xmlns:p14="http://schemas.microsoft.com/office/powerpoint/2010/main" val="5556437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257558" y="1012954"/>
            <a:ext cx="66180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poskytovatelů zdravotních služeb (NRPZS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solidFill>
                  <a:srgbClr val="C00000"/>
                </a:solidFill>
              </a:rPr>
              <a:t>Dynamika počtu ordinací praktických lékařů pro </a:t>
            </a:r>
            <a:r>
              <a:rPr lang="cs-CZ" dirty="0">
                <a:solidFill>
                  <a:srgbClr val="C00000"/>
                </a:solidFill>
              </a:rPr>
              <a:t>děti a dorost </a:t>
            </a:r>
            <a:br>
              <a:rPr lang="cs-CZ" dirty="0">
                <a:solidFill>
                  <a:srgbClr val="C00000"/>
                </a:solidFill>
              </a:rPr>
            </a:br>
            <a:r>
              <a:rPr lang="cs-CZ" dirty="0">
                <a:solidFill>
                  <a:srgbClr val="C00000"/>
                </a:solidFill>
              </a:rPr>
              <a:t>v letech 2018-2022</a:t>
            </a:r>
            <a:r>
              <a:rPr lang="en-US" dirty="0">
                <a:solidFill>
                  <a:srgbClr val="C00000"/>
                </a:solidFill>
              </a:rPr>
              <a:t> </a:t>
            </a:r>
          </a:p>
        </p:txBody>
      </p:sp>
      <p:graphicFrame>
        <p:nvGraphicFramePr>
          <p:cNvPr id="76" name="Tabulka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2606084"/>
              </p:ext>
            </p:extLst>
          </p:nvPr>
        </p:nvGraphicFramePr>
        <p:xfrm>
          <a:off x="6875585" y="3606776"/>
          <a:ext cx="2651760" cy="1977390"/>
        </p:xfrm>
        <a:graphic>
          <a:graphicData uri="http://schemas.openxmlformats.org/drawingml/2006/table">
            <a:tbl>
              <a:tblPr/>
              <a:tblGrid>
                <a:gridCol w="1325880">
                  <a:extLst>
                    <a:ext uri="{9D8B030D-6E8A-4147-A177-3AD203B41FA5}">
                      <a16:colId xmlns:a16="http://schemas.microsoft.com/office/drawing/2014/main" val="4173653498"/>
                    </a:ext>
                  </a:extLst>
                </a:gridCol>
                <a:gridCol w="13258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19115">
                <a:tc>
                  <a:txBody>
                    <a:bodyPr/>
                    <a:lstStyle/>
                    <a:p>
                      <a:pPr algn="ctr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oční bilance</a:t>
                      </a:r>
                      <a:r>
                        <a:rPr lang="en-US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74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62 (-2,4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74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60 (-2,4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74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79 (-3,1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74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49 (-1,5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74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86 (-3,4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4363215"/>
                  </a:ext>
                </a:extLst>
              </a:tr>
            </a:tbl>
          </a:graphicData>
        </a:graphic>
      </p:graphicFrame>
      <p:sp>
        <p:nvSpPr>
          <p:cNvPr id="44" name="TextBox 46">
            <a:extLst>
              <a:ext uri="{FF2B5EF4-FFF2-40B4-BE49-F238E27FC236}">
                <a16:creationId xmlns:a16="http://schemas.microsoft.com/office/drawing/2014/main" id="{544738CE-0108-4BC6-9486-5B5F31279E3C}"/>
              </a:ext>
            </a:extLst>
          </p:cNvPr>
          <p:cNvSpPr txBox="1"/>
          <p:nvPr/>
        </p:nvSpPr>
        <p:spPr>
          <a:xfrm>
            <a:off x="1657836" y="1579933"/>
            <a:ext cx="35125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lková bilance počtu míst PLDD v letech 2018-2022</a:t>
            </a:r>
          </a:p>
        </p:txBody>
      </p:sp>
      <p:graphicFrame>
        <p:nvGraphicFramePr>
          <p:cNvPr id="12" name="Table 45">
            <a:extLst>
              <a:ext uri="{FF2B5EF4-FFF2-40B4-BE49-F238E27FC236}">
                <a16:creationId xmlns:a16="http://schemas.microsoft.com/office/drawing/2014/main" id="{E83B9F54-D9D5-AE82-20D2-76032F3FE3B5}"/>
              </a:ext>
            </a:extLst>
          </p:cNvPr>
          <p:cNvGraphicFramePr>
            <a:graphicFrameLocks noGrp="1"/>
          </p:cNvGraphicFramePr>
          <p:nvPr/>
        </p:nvGraphicFramePr>
        <p:xfrm>
          <a:off x="868075" y="1977542"/>
          <a:ext cx="4693825" cy="3903345"/>
        </p:xfrm>
        <a:graphic>
          <a:graphicData uri="http://schemas.openxmlformats.org/drawingml/2006/table">
            <a:tbl>
              <a:tblPr/>
              <a:tblGrid>
                <a:gridCol w="3544534">
                  <a:extLst>
                    <a:ext uri="{9D8B030D-6E8A-4147-A177-3AD203B41FA5}">
                      <a16:colId xmlns:a16="http://schemas.microsoft.com/office/drawing/2014/main" val="406821776"/>
                    </a:ext>
                  </a:extLst>
                </a:gridCol>
                <a:gridCol w="293615">
                  <a:extLst>
                    <a:ext uri="{9D8B030D-6E8A-4147-A177-3AD203B41FA5}">
                      <a16:colId xmlns:a16="http://schemas.microsoft.com/office/drawing/2014/main" val="1683923342"/>
                    </a:ext>
                  </a:extLst>
                </a:gridCol>
                <a:gridCol w="327170">
                  <a:extLst>
                    <a:ext uri="{9D8B030D-6E8A-4147-A177-3AD203B41FA5}">
                      <a16:colId xmlns:a16="http://schemas.microsoft.com/office/drawing/2014/main" val="1539128207"/>
                    </a:ext>
                  </a:extLst>
                </a:gridCol>
                <a:gridCol w="528506">
                  <a:extLst>
                    <a:ext uri="{9D8B030D-6E8A-4147-A177-3AD203B41FA5}">
                      <a16:colId xmlns:a16="http://schemas.microsoft.com/office/drawing/2014/main" val="1925309117"/>
                    </a:ext>
                  </a:extLst>
                </a:gridCol>
              </a:tblGrid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B050"/>
                          </a:solidFill>
                          <a:effectLst/>
                          <a:latin typeface="+mj-lt"/>
                        </a:rPr>
                        <a:t>+</a:t>
                      </a:r>
                      <a:endParaRPr lang="en-US" sz="1400" b="1" i="0" u="none" strike="noStrike" dirty="0">
                        <a:solidFill>
                          <a:srgbClr val="00B05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+mj-lt"/>
                        </a:rPr>
                        <a:t>-</a:t>
                      </a:r>
                      <a:endParaRPr lang="en-US" sz="1400" b="1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Bil</a:t>
                      </a:r>
                      <a:r>
                        <a:rPr lang="en-US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nce</a:t>
                      </a: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376776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2095132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1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9867141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1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9705820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1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4171741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1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6391307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1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1238128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1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9135602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1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2139054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2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81063919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2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5553816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3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4427891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4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1010010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4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0985808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5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9538628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endParaRPr lang="cs-CZ" sz="10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endParaRPr lang="cs-CZ" sz="10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5075863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6307936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5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6663841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1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1369440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5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444710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1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879934"/>
                  </a:ext>
                </a:extLst>
              </a:tr>
              <a:tr h="172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7620" marR="7620" marT="762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3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0267646"/>
                  </a:ext>
                </a:extLst>
              </a:tr>
            </a:tbl>
          </a:graphicData>
        </a:graphic>
      </p:graphicFrame>
      <p:graphicFrame>
        <p:nvGraphicFramePr>
          <p:cNvPr id="13" name="Chart 6">
            <a:extLst>
              <a:ext uri="{FF2B5EF4-FFF2-40B4-BE49-F238E27FC236}">
                <a16:creationId xmlns:a16="http://schemas.microsoft.com/office/drawing/2014/main" id="{2F80E624-300C-A7C2-CF76-B2A85CFC1CD1}"/>
              </a:ext>
            </a:extLst>
          </p:cNvPr>
          <p:cNvGraphicFramePr/>
          <p:nvPr/>
        </p:nvGraphicFramePr>
        <p:xfrm>
          <a:off x="795626" y="1892600"/>
          <a:ext cx="3527682" cy="40819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4" name="TextBox 8">
            <a:extLst>
              <a:ext uri="{FF2B5EF4-FFF2-40B4-BE49-F238E27FC236}">
                <a16:creationId xmlns:a16="http://schemas.microsoft.com/office/drawing/2014/main" id="{E064D87C-32B5-481F-B57A-131DDBA60F09}"/>
              </a:ext>
            </a:extLst>
          </p:cNvPr>
          <p:cNvSpPr txBox="1"/>
          <p:nvPr/>
        </p:nvSpPr>
        <p:spPr>
          <a:xfrm>
            <a:off x="781845" y="4595471"/>
            <a:ext cx="10711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e velikosti sídla</a:t>
            </a:r>
          </a:p>
        </p:txBody>
      </p:sp>
      <p:sp>
        <p:nvSpPr>
          <p:cNvPr id="15" name="TextBox 8">
            <a:extLst>
              <a:ext uri="{FF2B5EF4-FFF2-40B4-BE49-F238E27FC236}">
                <a16:creationId xmlns:a16="http://schemas.microsoft.com/office/drawing/2014/main" id="{66D0E8E5-A53F-279A-0142-3BC0B581CA03}"/>
              </a:ext>
            </a:extLst>
          </p:cNvPr>
          <p:cNvSpPr txBox="1"/>
          <p:nvPr/>
        </p:nvSpPr>
        <p:spPr>
          <a:xfrm>
            <a:off x="784616" y="1979737"/>
            <a:ext cx="6399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le kraje</a:t>
            </a:r>
          </a:p>
        </p:txBody>
      </p:sp>
      <p:graphicFrame>
        <p:nvGraphicFramePr>
          <p:cNvPr id="17" name="Table 11">
            <a:extLst>
              <a:ext uri="{FF2B5EF4-FFF2-40B4-BE49-F238E27FC236}">
                <a16:creationId xmlns:a16="http://schemas.microsoft.com/office/drawing/2014/main" id="{4C20D308-9EE0-830A-063E-94F923A81C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5312171"/>
              </p:ext>
            </p:extLst>
          </p:nvPr>
        </p:nvGraphicFramePr>
        <p:xfrm>
          <a:off x="6808910" y="1787042"/>
          <a:ext cx="4878264" cy="1101313"/>
        </p:xfrm>
        <a:graphic>
          <a:graphicData uri="http://schemas.openxmlformats.org/drawingml/2006/table">
            <a:tbl>
              <a:tblPr/>
              <a:tblGrid>
                <a:gridCol w="1673919">
                  <a:extLst>
                    <a:ext uri="{9D8B030D-6E8A-4147-A177-3AD203B41FA5}">
                      <a16:colId xmlns:a16="http://schemas.microsoft.com/office/drawing/2014/main" val="3853287201"/>
                    </a:ext>
                  </a:extLst>
                </a:gridCol>
                <a:gridCol w="1068115">
                  <a:extLst>
                    <a:ext uri="{9D8B030D-6E8A-4147-A177-3AD203B41FA5}">
                      <a16:colId xmlns:a16="http://schemas.microsoft.com/office/drawing/2014/main" val="3872390175"/>
                    </a:ext>
                  </a:extLst>
                </a:gridCol>
                <a:gridCol w="1068115">
                  <a:extLst>
                    <a:ext uri="{9D8B030D-6E8A-4147-A177-3AD203B41FA5}">
                      <a16:colId xmlns:a16="http://schemas.microsoft.com/office/drawing/2014/main" val="2814374472"/>
                    </a:ext>
                  </a:extLst>
                </a:gridCol>
                <a:gridCol w="1068115">
                  <a:extLst>
                    <a:ext uri="{9D8B030D-6E8A-4147-A177-3AD203B41FA5}">
                      <a16:colId xmlns:a16="http://schemas.microsoft.com/office/drawing/2014/main" val="3360779753"/>
                    </a:ext>
                  </a:extLst>
                </a:gridCol>
              </a:tblGrid>
              <a:tr h="42122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endParaRPr lang="en-US" sz="2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lance</a:t>
                      </a:r>
                      <a:endParaRPr lang="en-US" sz="2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22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  <a:endParaRPr lang="en-US" sz="2200" b="1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22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US" sz="22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0807266"/>
                  </a:ext>
                </a:extLst>
              </a:tr>
              <a:tr h="45941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b"/>
                      <a:r>
                        <a:rPr lang="cs-CZ" sz="2200" b="1" u="none" strike="noStrike" dirty="0">
                          <a:effectLst/>
                        </a:rPr>
                        <a:t>Celá ČR 2018-2022</a:t>
                      </a:r>
                      <a:endParaRPr lang="en-US" sz="2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22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</a:t>
                      </a:r>
                      <a:r>
                        <a:rPr lang="cs-CZ" sz="22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336</a:t>
                      </a:r>
                      <a:endParaRPr lang="en-US" sz="22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2200" b="1" i="0" u="none" strike="noStrike" dirty="0">
                          <a:solidFill>
                            <a:srgbClr val="00B050"/>
                          </a:solidFill>
                          <a:effectLst/>
                          <a:latin typeface="+mn-lt"/>
                        </a:rPr>
                        <a:t>387</a:t>
                      </a:r>
                      <a:endParaRPr lang="en-US" sz="2200" b="1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2200" b="1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723</a:t>
                      </a:r>
                      <a:endParaRPr lang="en-US" sz="22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608212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424290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1_Motiv Office">
  <a:themeElements>
    <a:clrScheme name="Z_2030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37BC1"/>
      </a:accent1>
      <a:accent2>
        <a:srgbClr val="8CC841"/>
      </a:accent2>
      <a:accent3>
        <a:srgbClr val="DA2128"/>
      </a:accent3>
      <a:accent4>
        <a:srgbClr val="C8C8C8"/>
      </a:accent4>
      <a:accent5>
        <a:srgbClr val="7F0506"/>
      </a:accent5>
      <a:accent6>
        <a:srgbClr val="FFC000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6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5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5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Motiv Office">
  <a:themeElements>
    <a:clrScheme name="UZIS-2023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2C2F7A"/>
      </a:accent1>
      <a:accent2>
        <a:srgbClr val="93A8CD"/>
      </a:accent2>
      <a:accent3>
        <a:srgbClr val="DA2B47"/>
      </a:accent3>
      <a:accent4>
        <a:srgbClr val="BBC747"/>
      </a:accent4>
      <a:accent5>
        <a:srgbClr val="7B3C8E"/>
      </a:accent5>
      <a:accent6>
        <a:srgbClr val="E6B03C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zis-prezentace.pptx" id="{D217B08B-AB60-4225-B7C6-F3F24BDBDACF}" vid="{06F73199-D0EF-4FCD-B935-22E4C402591B}"/>
    </a:ext>
  </a:extLst>
</a:theme>
</file>

<file path=ppt/theme/theme7.xml><?xml version="1.0" encoding="utf-8"?>
<a:theme xmlns:a="http://schemas.openxmlformats.org/drawingml/2006/main" name="Motiv systému Office">
  <a:themeElements>
    <a:clrScheme name="Vlastní 6">
      <a:dk1>
        <a:srgbClr val="000000"/>
      </a:dk1>
      <a:lt1>
        <a:sysClr val="window" lastClr="FFFFFF"/>
      </a:lt1>
      <a:dk2>
        <a:srgbClr val="000000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7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2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8111</TotalTime>
  <Words>2932</Words>
  <Application>Microsoft Macintosh PowerPoint</Application>
  <PresentationFormat>Širokoúhlá obrazovka</PresentationFormat>
  <Paragraphs>873</Paragraphs>
  <Slides>39</Slides>
  <Notes>11</Notes>
  <HiddenSlides>0</HiddenSlides>
  <MMClips>0</MMClips>
  <ScaleCrop>false</ScaleCrop>
  <HeadingPairs>
    <vt:vector size="6" baseType="variant">
      <vt:variant>
        <vt:lpstr>Použitá písma</vt:lpstr>
      </vt:variant>
      <vt:variant>
        <vt:i4>9</vt:i4>
      </vt:variant>
      <vt:variant>
        <vt:lpstr>Motiv</vt:lpstr>
      </vt:variant>
      <vt:variant>
        <vt:i4>10</vt:i4>
      </vt:variant>
      <vt:variant>
        <vt:lpstr>Nadpisy snímků</vt:lpstr>
      </vt:variant>
      <vt:variant>
        <vt:i4>39</vt:i4>
      </vt:variant>
    </vt:vector>
  </HeadingPairs>
  <TitlesOfParts>
    <vt:vector size="58" baseType="lpstr">
      <vt:lpstr>Arial</vt:lpstr>
      <vt:lpstr>Arial Black</vt:lpstr>
      <vt:lpstr>Avenir Next</vt:lpstr>
      <vt:lpstr>Avenir Next Condensed</vt:lpstr>
      <vt:lpstr>Calibri</vt:lpstr>
      <vt:lpstr>Calibri Light</vt:lpstr>
      <vt:lpstr>Courier New</vt:lpstr>
      <vt:lpstr>Insight print</vt:lpstr>
      <vt:lpstr>Wingdings</vt:lpstr>
      <vt:lpstr>1_Motiv Office</vt:lpstr>
      <vt:lpstr>3_Motiv Office</vt:lpstr>
      <vt:lpstr>Office Theme</vt:lpstr>
      <vt:lpstr>5_Motiv Office</vt:lpstr>
      <vt:lpstr>15_Motiv Office</vt:lpstr>
      <vt:lpstr>Motiv Office</vt:lpstr>
      <vt:lpstr>Motiv systému Office</vt:lpstr>
      <vt:lpstr>7_Motiv Office</vt:lpstr>
      <vt:lpstr>2_Motiv Office</vt:lpstr>
      <vt:lpstr>6_Motiv Office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Mezinárodní srovnání počtu VŠEOBECNÝCH PEDIATRŮ  na 100 000 obyvatel v roce 2020</vt:lpstr>
      <vt:lpstr>Prezentace aplikace PowerPoint</vt:lpstr>
      <vt:lpstr>Praktičtí lékaři pro děti a dorost aktivní v roce 2022 podle věku a pohlaví</vt:lpstr>
      <vt:lpstr>Dynamika počtu ordinací praktických lékařů pro děti a dorost  v letech 2018-2022 </vt:lpstr>
      <vt:lpstr>Dynamika počtu ordinací praktických lékařů pro děti a dorost  v letech 2018-2022 </vt:lpstr>
      <vt:lpstr>Prezentace aplikace PowerPoint</vt:lpstr>
      <vt:lpstr>Prezentace aplikace PowerPoint</vt:lpstr>
      <vt:lpstr>Prezentace aplikace PowerPoint</vt:lpstr>
      <vt:lpstr>Prezentace aplikace PowerPoint</vt:lpstr>
      <vt:lpstr>Parametry navyšující rizikové skóre pro chybějící kapacitu </vt:lpstr>
      <vt:lpstr>Modelový odhad podílu dětí v kapitaci PLDD dle rizikového skóre </vt:lpstr>
      <vt:lpstr>Prezentace aplikace PowerPoint</vt:lpstr>
      <vt:lpstr>PROBLÉM S DOSTUPNOSTÍ KAPACIT PLDD JE AKUTNÍ   Plošný audit dat potvrdil prohlubující se problém s kapacitou praktických lékařů pro děti a dorost.   </vt:lpstr>
      <vt:lpstr>Rozložení rizika není mezi regiony rovnoměrné </vt:lpstr>
      <vt:lpstr>V následujících 5 – 7 letech hrozí odchod 700 – 900 PLDD do důchodu a již nyní chybí kapitační péče u cca 180 tis. dětí   Řešení pro urychlené získání až 1 000 lékařů PLDD? </vt:lpstr>
      <vt:lpstr>Prezentace aplikace PowerPoint</vt:lpstr>
      <vt:lpstr>Prezentace aplikace PowerPoint</vt:lpstr>
      <vt:lpstr>Prezentace aplikace PowerPoint</vt:lpstr>
      <vt:lpstr>Řešení pro urychlené získání až 1 000 lékařů PLDD? </vt:lpstr>
      <vt:lpstr>Řešení pro urychlené získání až 1 000 lékařů PLDD? </vt:lpstr>
      <vt:lpstr>Prezentace aplikace PowerPoint</vt:lpstr>
      <vt:lpstr>Prezentace aplikace PowerPoint</vt:lpstr>
      <vt:lpstr>V dostupných kapacitách PL jsou velké rozdíly mezi regiony, dle přepočtených úvazků na 100 tis. osob kraje je nejhorší situace v Středočeském kraji.</vt:lpstr>
      <vt:lpstr>Samostatné ordinace (ambulance) v ČR: počet obyvatel na 1 úvazek lékaře</vt:lpstr>
      <vt:lpstr>Mezinárodní srovnání počtu praktických lékařů  na 100 000 obyvatel v roce 2020</vt:lpstr>
      <vt:lpstr>Největším problémem je ale věk PL, téměř třetina kapacit je již nyní v důchodovém věku, 40% kapacit je kryto lékaři nad 60 let věku. V tomto ohledu je nejhorší situace v krajích: Jihočeský, Plzeňský, Jihomoravský, Karlovarský. </vt:lpstr>
      <vt:lpstr>Prezentace aplikace PowerPoint</vt:lpstr>
      <vt:lpstr>Dynamika počtu ordinací praktických lékařů pro dospělé </vt:lpstr>
      <vt:lpstr>Dynamika počtu ordinací praktických lékařů pro dospělé v letech 2018-2022 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Koptíková Jana</dc:creator>
  <cp:lastModifiedBy>David Šmehlík</cp:lastModifiedBy>
  <cp:revision>241</cp:revision>
  <dcterms:created xsi:type="dcterms:W3CDTF">2019-05-28T15:33:45Z</dcterms:created>
  <dcterms:modified xsi:type="dcterms:W3CDTF">2023-10-24T14:29:08Z</dcterms:modified>
</cp:coreProperties>
</file>